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heme/themeOverride1.xml" ContentType="application/vnd.openxmlformats-officedocument.themeOverr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diagrams/layout2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7"/>
  </p:notesMasterIdLst>
  <p:sldIdLst>
    <p:sldId id="267" r:id="rId2"/>
    <p:sldId id="275" r:id="rId3"/>
    <p:sldId id="256" r:id="rId4"/>
    <p:sldId id="268" r:id="rId5"/>
    <p:sldId id="269" r:id="rId6"/>
    <p:sldId id="270" r:id="rId7"/>
    <p:sldId id="271" r:id="rId8"/>
    <p:sldId id="272" r:id="rId9"/>
    <p:sldId id="273" r:id="rId10"/>
    <p:sldId id="276" r:id="rId11"/>
    <p:sldId id="261" r:id="rId12"/>
    <p:sldId id="264" r:id="rId13"/>
    <p:sldId id="265" r:id="rId14"/>
    <p:sldId id="266" r:id="rId15"/>
    <p:sldId id="274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/>
    <p:restoredTop sz="94660"/>
  </p:normalViewPr>
  <p:slideViewPr>
    <p:cSldViewPr>
      <p:cViewPr varScale="1">
        <p:scale>
          <a:sx n="64" d="100"/>
          <a:sy n="64" d="100"/>
        </p:scale>
        <p:origin x="-148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rahim.razak\Desktop\PreCouncil_%20EmpByOcc08_221009.xls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8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0964261734725041E-2"/>
          <c:y val="2.357717050074629E-2"/>
          <c:w val="0.95985128107203432"/>
          <c:h val="0.58303173678044251"/>
        </c:manualLayout>
      </c:layout>
      <c:barChart>
        <c:barDir val="col"/>
        <c:grouping val="percentStacked"/>
        <c:ser>
          <c:idx val="0"/>
          <c:order val="0"/>
          <c:tx>
            <c:strRef>
              <c:f>'4PreCounc_JKKPMI (BM)'!$O$33</c:f>
              <c:strCache>
                <c:ptCount val="1"/>
                <c:pt idx="0">
                  <c:v>Pekerjaan Asas</c:v>
                </c:pt>
              </c:strCache>
            </c:strRef>
          </c:tx>
          <c:spPr>
            <a:ln w="3175">
              <a:solidFill>
                <a:prstClr val="black"/>
              </a:solidFill>
            </a:ln>
            <a:scene3d>
              <a:camera prst="orthographicFront"/>
              <a:lightRig rig="threePt" dir="t"/>
            </a:scene3d>
            <a:sp3d>
              <a:bevelT w="82550" h="63500" prst="cross"/>
            </a:sp3d>
          </c:spPr>
          <c:dLbls>
            <c:txPr>
              <a:bodyPr/>
              <a:lstStyle/>
              <a:p>
                <a:pPr>
                  <a:defRPr lang="en-MY" sz="1500" b="1"/>
                </a:pPr>
                <a:endParaRPr lang="en-US"/>
              </a:p>
            </c:txPr>
            <c:showVal val="1"/>
          </c:dLbls>
          <c:cat>
            <c:strRef>
              <c:f>'4PreCounc_JKKPMI (BM)'!$P$32:$U$32</c:f>
              <c:strCache>
                <c:ptCount val="6"/>
                <c:pt idx="0">
                  <c:v>MALAYSIA</c:v>
                </c:pt>
                <c:pt idx="1">
                  <c:v>Ireland</c:v>
                </c:pt>
                <c:pt idx="2">
                  <c:v>Australia</c:v>
                </c:pt>
                <c:pt idx="3">
                  <c:v>New Zealand</c:v>
                </c:pt>
                <c:pt idx="4">
                  <c:v>Finland</c:v>
                </c:pt>
                <c:pt idx="5">
                  <c:v>Singapore</c:v>
                </c:pt>
              </c:strCache>
            </c:strRef>
          </c:cat>
          <c:val>
            <c:numRef>
              <c:f>'4PreCounc_JKKPMI (BM)'!$P$33:$U$33</c:f>
              <c:numCache>
                <c:formatCode>#,##0.0</c:formatCode>
                <c:ptCount val="6"/>
                <c:pt idx="0">
                  <c:v>11.762313206424084</c:v>
                </c:pt>
                <c:pt idx="1">
                  <c:v>8.7889602664763089</c:v>
                </c:pt>
                <c:pt idx="2">
                  <c:v>7.6401690780775757</c:v>
                </c:pt>
                <c:pt idx="3">
                  <c:v>5.6139545558870001</c:v>
                </c:pt>
                <c:pt idx="4">
                  <c:v>7.9952267303102724</c:v>
                </c:pt>
                <c:pt idx="5">
                  <c:v>7.8225400905179345</c:v>
                </c:pt>
              </c:numCache>
            </c:numRef>
          </c:val>
        </c:ser>
        <c:ser>
          <c:idx val="1"/>
          <c:order val="1"/>
          <c:tx>
            <c:strRef>
              <c:f>'4PreCounc_JKKPMI (BM)'!$O$34</c:f>
              <c:strCache>
                <c:ptCount val="1"/>
                <c:pt idx="0">
                  <c:v>Pekerja Berkaitan Ketukangan &amp; Loji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 w="3175">
              <a:solidFill>
                <a:prstClr val="black"/>
              </a:solidFill>
            </a:ln>
            <a:scene3d>
              <a:camera prst="orthographicFront"/>
              <a:lightRig rig="threePt" dir="t"/>
            </a:scene3d>
            <a:sp3d>
              <a:bevelT w="82550" h="63500" prst="cross"/>
            </a:sp3d>
          </c:spPr>
          <c:dLbls>
            <c:txPr>
              <a:bodyPr/>
              <a:lstStyle/>
              <a:p>
                <a:pPr>
                  <a:defRPr lang="en-MY" sz="1500" b="1"/>
                </a:pPr>
                <a:endParaRPr lang="en-US"/>
              </a:p>
            </c:txPr>
            <c:showVal val="1"/>
          </c:dLbls>
          <c:cat>
            <c:strRef>
              <c:f>'4PreCounc_JKKPMI (BM)'!$P$32:$U$32</c:f>
              <c:strCache>
                <c:ptCount val="6"/>
                <c:pt idx="0">
                  <c:v>MALAYSIA</c:v>
                </c:pt>
                <c:pt idx="1">
                  <c:v>Ireland</c:v>
                </c:pt>
                <c:pt idx="2">
                  <c:v>Australia</c:v>
                </c:pt>
                <c:pt idx="3">
                  <c:v>New Zealand</c:v>
                </c:pt>
                <c:pt idx="4">
                  <c:v>Finland</c:v>
                </c:pt>
                <c:pt idx="5">
                  <c:v>Singapore</c:v>
                </c:pt>
              </c:strCache>
            </c:strRef>
          </c:cat>
          <c:val>
            <c:numRef>
              <c:f>'4PreCounc_JKKPMI (BM)'!$P$34:$U$34</c:f>
              <c:numCache>
                <c:formatCode>#,##0.0</c:formatCode>
                <c:ptCount val="6"/>
                <c:pt idx="0">
                  <c:v>25.028589245966408</c:v>
                </c:pt>
                <c:pt idx="1">
                  <c:v>20.63288127527959</c:v>
                </c:pt>
                <c:pt idx="2">
                  <c:v>18.336964415396046</c:v>
                </c:pt>
                <c:pt idx="3">
                  <c:v>17.507459260959372</c:v>
                </c:pt>
                <c:pt idx="4">
                  <c:v>20.76372315035772</c:v>
                </c:pt>
                <c:pt idx="5">
                  <c:v>13.739732916131199</c:v>
                </c:pt>
              </c:numCache>
            </c:numRef>
          </c:val>
        </c:ser>
        <c:ser>
          <c:idx val="2"/>
          <c:order val="2"/>
          <c:tx>
            <c:strRef>
              <c:f>'4PreCounc_JKKPMI (BM)'!$O$35</c:f>
              <c:strCache>
                <c:ptCount val="1"/>
                <c:pt idx="0">
                  <c:v>Pekerja Pertanian &amp; Perikanan 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3175">
              <a:solidFill>
                <a:prstClr val="black"/>
              </a:solidFill>
              <a:miter lim="800000"/>
            </a:ln>
            <a:scene3d>
              <a:camera prst="orthographicFront"/>
              <a:lightRig rig="threePt" dir="t"/>
            </a:scene3d>
            <a:sp3d>
              <a:bevelT w="82550" h="63500" prst="cross"/>
            </a:sp3d>
          </c:spPr>
          <c:dLbls>
            <c:txPr>
              <a:bodyPr/>
              <a:lstStyle/>
              <a:p>
                <a:pPr>
                  <a:defRPr lang="en-MY" sz="15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'4PreCounc_JKKPMI (BM)'!$P$32:$U$32</c:f>
              <c:strCache>
                <c:ptCount val="6"/>
                <c:pt idx="0">
                  <c:v>MALAYSIA</c:v>
                </c:pt>
                <c:pt idx="1">
                  <c:v>Ireland</c:v>
                </c:pt>
                <c:pt idx="2">
                  <c:v>Australia</c:v>
                </c:pt>
                <c:pt idx="3">
                  <c:v>New Zealand</c:v>
                </c:pt>
                <c:pt idx="4">
                  <c:v>Finland</c:v>
                </c:pt>
                <c:pt idx="5">
                  <c:v>Singapore</c:v>
                </c:pt>
              </c:strCache>
            </c:strRef>
          </c:cat>
          <c:val>
            <c:numRef>
              <c:f>'4PreCounc_JKKPMI (BM)'!$P$35:$U$35</c:f>
              <c:numCache>
                <c:formatCode>#,##0.0</c:formatCode>
                <c:ptCount val="6"/>
                <c:pt idx="0">
                  <c:v>12.891971697663227</c:v>
                </c:pt>
                <c:pt idx="1">
                  <c:v>0.7375684035212946</c:v>
                </c:pt>
                <c:pt idx="2">
                  <c:v>2.8936930897715207</c:v>
                </c:pt>
                <c:pt idx="3">
                  <c:v>6.7477622217121924</c:v>
                </c:pt>
                <c:pt idx="4">
                  <c:v>4.2163882259347734</c:v>
                </c:pt>
                <c:pt idx="5">
                  <c:v>5.5875286360842623E-2</c:v>
                </c:pt>
              </c:numCache>
            </c:numRef>
          </c:val>
        </c:ser>
        <c:ser>
          <c:idx val="3"/>
          <c:order val="3"/>
          <c:tx>
            <c:strRef>
              <c:f>'4PreCounc_JKKPMI (BM)'!$O$36</c:f>
              <c:strCache>
                <c:ptCount val="1"/>
                <c:pt idx="0">
                  <c:v>Pekerja Perkeranian &amp; Perkhidmatan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 w="3175">
              <a:solidFill>
                <a:prstClr val="black"/>
              </a:solidFill>
              <a:miter lim="800000"/>
            </a:ln>
            <a:scene3d>
              <a:camera prst="orthographicFront"/>
              <a:lightRig rig="threePt" dir="t"/>
            </a:scene3d>
            <a:sp3d>
              <a:bevelT w="82550" h="63500" prst="cross"/>
              <a:bevelB w="0"/>
            </a:sp3d>
          </c:spPr>
          <c:dLbls>
            <c:txPr>
              <a:bodyPr/>
              <a:lstStyle/>
              <a:p>
                <a:pPr>
                  <a:defRPr lang="en-MY" sz="15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'4PreCounc_JKKPMI (BM)'!$P$32:$U$32</c:f>
              <c:strCache>
                <c:ptCount val="6"/>
                <c:pt idx="0">
                  <c:v>MALAYSIA</c:v>
                </c:pt>
                <c:pt idx="1">
                  <c:v>Ireland</c:v>
                </c:pt>
                <c:pt idx="2">
                  <c:v>Australia</c:v>
                </c:pt>
                <c:pt idx="3">
                  <c:v>New Zealand</c:v>
                </c:pt>
                <c:pt idx="4">
                  <c:v>Finland</c:v>
                </c:pt>
                <c:pt idx="5">
                  <c:v>Singapore</c:v>
                </c:pt>
              </c:strCache>
            </c:strRef>
          </c:cat>
          <c:val>
            <c:numRef>
              <c:f>'4PreCounc_JKKPMI (BM)'!$P$36:$U$36</c:f>
              <c:numCache>
                <c:formatCode>#,##0.0</c:formatCode>
                <c:ptCount val="6"/>
                <c:pt idx="0">
                  <c:v>24.447596258390789</c:v>
                </c:pt>
                <c:pt idx="1">
                  <c:v>30.892219842968863</c:v>
                </c:pt>
                <c:pt idx="2">
                  <c:v>28.261922052771506</c:v>
                </c:pt>
                <c:pt idx="3">
                  <c:v>27.018590773467889</c:v>
                </c:pt>
                <c:pt idx="4">
                  <c:v>22.553699284009529</c:v>
                </c:pt>
                <c:pt idx="5">
                  <c:v>25.585293624629621</c:v>
                </c:pt>
              </c:numCache>
            </c:numRef>
          </c:val>
        </c:ser>
        <c:ser>
          <c:idx val="4"/>
          <c:order val="4"/>
          <c:tx>
            <c:strRef>
              <c:f>'4PreCounc_JKKPMI (BM)'!$O$37</c:f>
              <c:strCache>
                <c:ptCount val="1"/>
                <c:pt idx="0">
                  <c:v>Pengurus, Profesional dan Juruteknik</c:v>
                </c:pt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 w="3175" cap="flat">
              <a:solidFill>
                <a:schemeClr val="tx1"/>
              </a:solidFill>
              <a:miter lim="800000"/>
            </a:ln>
            <a:scene3d>
              <a:camera prst="orthographicFront"/>
              <a:lightRig rig="threePt" dir="t"/>
            </a:scene3d>
            <a:sp3d>
              <a:bevelT w="82550" h="69850" prst="cross"/>
            </a:sp3d>
          </c:spPr>
          <c:dLbls>
            <c:txPr>
              <a:bodyPr/>
              <a:lstStyle/>
              <a:p>
                <a:pPr>
                  <a:defRPr lang="en-MY" sz="1500"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'4PreCounc_JKKPMI (BM)'!$P$32:$U$32</c:f>
              <c:strCache>
                <c:ptCount val="6"/>
                <c:pt idx="0">
                  <c:v>MALAYSIA</c:v>
                </c:pt>
                <c:pt idx="1">
                  <c:v>Ireland</c:v>
                </c:pt>
                <c:pt idx="2">
                  <c:v>Australia</c:v>
                </c:pt>
                <c:pt idx="3">
                  <c:v>New Zealand</c:v>
                </c:pt>
                <c:pt idx="4">
                  <c:v>Finland</c:v>
                </c:pt>
                <c:pt idx="5">
                  <c:v>Singapore</c:v>
                </c:pt>
              </c:strCache>
            </c:strRef>
          </c:cat>
          <c:val>
            <c:numRef>
              <c:f>'4PreCounc_JKKPMI (BM)'!$P$37:$U$37</c:f>
              <c:numCache>
                <c:formatCode>#,##0.0</c:formatCode>
                <c:ptCount val="6"/>
                <c:pt idx="0">
                  <c:v>25.869529591554699</c:v>
                </c:pt>
                <c:pt idx="1">
                  <c:v>38.948370211753506</c:v>
                </c:pt>
                <c:pt idx="2">
                  <c:v>42.867251363983144</c:v>
                </c:pt>
                <c:pt idx="3">
                  <c:v>43.112233187973381</c:v>
                </c:pt>
                <c:pt idx="4">
                  <c:v>44.470962609387144</c:v>
                </c:pt>
                <c:pt idx="5">
                  <c:v>52.796558082360313</c:v>
                </c:pt>
              </c:numCache>
            </c:numRef>
          </c:val>
        </c:ser>
        <c:dLbls>
          <c:showVal val="1"/>
        </c:dLbls>
        <c:gapWidth val="60"/>
        <c:overlap val="100"/>
        <c:axId val="74415104"/>
        <c:axId val="74437376"/>
      </c:barChart>
      <c:catAx>
        <c:axId val="7441510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lang="en-MY" sz="1500" b="1">
                <a:solidFill>
                  <a:schemeClr val="tx1"/>
                </a:solidFill>
              </a:defRPr>
            </a:pPr>
            <a:endParaRPr lang="en-US"/>
          </a:p>
        </c:txPr>
        <c:crossAx val="74437376"/>
        <c:crosses val="autoZero"/>
        <c:auto val="1"/>
        <c:lblAlgn val="ctr"/>
        <c:lblOffset val="100"/>
      </c:catAx>
      <c:valAx>
        <c:axId val="74437376"/>
        <c:scaling>
          <c:orientation val="minMax"/>
        </c:scaling>
        <c:delete val="1"/>
        <c:axPos val="l"/>
        <c:numFmt formatCode="0%" sourceLinked="1"/>
        <c:tickLblPos val="none"/>
        <c:crossAx val="744151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8764552241189197E-2"/>
          <c:y val="0.7341829628489035"/>
          <c:w val="0.49763484059432506"/>
          <c:h val="0.24934077451776579"/>
        </c:manualLayout>
      </c:layout>
      <c:txPr>
        <a:bodyPr/>
        <a:lstStyle/>
        <a:p>
          <a:pPr>
            <a:defRPr lang="en-MY" sz="1600" i="1">
              <a:solidFill>
                <a:schemeClr val="tx1"/>
              </a:solidFill>
            </a:defRPr>
          </a:pPr>
          <a:endParaRPr lang="en-US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2"/>
  <c:userShapes r:id="rId3"/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38345C-C079-4406-B2D3-56B073E8F877}" type="doc">
      <dgm:prSet loTypeId="urn:microsoft.com/office/officeart/2005/8/layout/process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54D1610-A847-46A8-8AC7-1BA1EF35305B}">
      <dgm:prSet phldrT="[Text]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>
          <a:solidFill>
            <a:schemeClr val="tx1"/>
          </a:solidFill>
        </a:ln>
      </dgm:spPr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eminar </a:t>
          </a:r>
          <a:r>
            <a:rPr lang="en-US" dirty="0" err="1" smtClean="0">
              <a:solidFill>
                <a:schemeClr val="tx1"/>
              </a:solidFill>
            </a:rPr>
            <a:t>Pengajar</a:t>
          </a:r>
          <a:r>
            <a:rPr lang="en-US" dirty="0" smtClean="0">
              <a:solidFill>
                <a:schemeClr val="tx1"/>
              </a:solidFill>
            </a:rPr>
            <a:t> JTM</a:t>
          </a:r>
          <a:endParaRPr lang="en-US" dirty="0">
            <a:solidFill>
              <a:schemeClr val="tx1"/>
            </a:solidFill>
          </a:endParaRPr>
        </a:p>
      </dgm:t>
    </dgm:pt>
    <dgm:pt modelId="{EC03B7B5-B1F4-4B3D-833C-008D082EAF6D}" type="parTrans" cxnId="{6806A760-1DF4-4E72-9F19-5290660F905C}">
      <dgm:prSet/>
      <dgm:spPr/>
      <dgm:t>
        <a:bodyPr/>
        <a:lstStyle/>
        <a:p>
          <a:endParaRPr lang="en-US"/>
        </a:p>
      </dgm:t>
    </dgm:pt>
    <dgm:pt modelId="{D2EE9E13-2AA5-4290-8C00-128B824FC30F}" type="sibTrans" cxnId="{6806A760-1DF4-4E72-9F19-5290660F905C}">
      <dgm:prSet/>
      <dgm:spPr/>
      <dgm:t>
        <a:bodyPr/>
        <a:lstStyle/>
        <a:p>
          <a:endParaRPr lang="en-US"/>
        </a:p>
      </dgm:t>
    </dgm:pt>
    <dgm:pt modelId="{2C6B9DB3-13E3-46B2-B8CF-A6359D1BCE9F}">
      <dgm:prSet phldrT="[Text]" custT="1"/>
      <dgm:spPr>
        <a:ln>
          <a:solidFill>
            <a:schemeClr val="tx1">
              <a:alpha val="90000"/>
            </a:schemeClr>
          </a:solidFill>
        </a:ln>
      </dgm:spPr>
      <dgm:t>
        <a:bodyPr/>
        <a:lstStyle/>
        <a:p>
          <a:r>
            <a:rPr lang="en-US" sz="3200" dirty="0" smtClean="0"/>
            <a:t>30 </a:t>
          </a:r>
          <a:r>
            <a:rPr lang="en-US" sz="3200" dirty="0" err="1" smtClean="0"/>
            <a:t>jun</a:t>
          </a:r>
          <a:r>
            <a:rPr lang="en-US" sz="3200" dirty="0" smtClean="0"/>
            <a:t> 2010</a:t>
          </a:r>
          <a:endParaRPr lang="en-US" sz="3200" dirty="0"/>
        </a:p>
      </dgm:t>
    </dgm:pt>
    <dgm:pt modelId="{B726C5C4-9ED8-45A6-A618-6C8BB36AB8E4}" type="parTrans" cxnId="{0CE40658-D9CB-4B01-82AE-39B1AC405271}">
      <dgm:prSet/>
      <dgm:spPr/>
      <dgm:t>
        <a:bodyPr/>
        <a:lstStyle/>
        <a:p>
          <a:endParaRPr lang="en-US"/>
        </a:p>
      </dgm:t>
    </dgm:pt>
    <dgm:pt modelId="{491903A1-D607-4603-945B-56BBBCA7060F}" type="sibTrans" cxnId="{0CE40658-D9CB-4B01-82AE-39B1AC405271}">
      <dgm:prSet/>
      <dgm:spPr/>
      <dgm:t>
        <a:bodyPr/>
        <a:lstStyle/>
        <a:p>
          <a:endParaRPr lang="en-US"/>
        </a:p>
      </dgm:t>
    </dgm:pt>
    <dgm:pt modelId="{74481462-D45E-432B-94F0-157DE247B63E}">
      <dgm:prSet phldrT="[Text]"/>
      <dgm:spPr>
        <a:ln>
          <a:solidFill>
            <a:schemeClr val="tx1">
              <a:alpha val="9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err="1" smtClean="0"/>
            <a:t>Isu</a:t>
          </a:r>
          <a:r>
            <a:rPr lang="en-US" dirty="0" smtClean="0"/>
            <a:t> </a:t>
          </a:r>
          <a:r>
            <a:rPr lang="en-US" dirty="0" err="1" smtClean="0"/>
            <a:t>pengajar</a:t>
          </a:r>
          <a:r>
            <a:rPr lang="en-US" dirty="0" smtClean="0"/>
            <a:t> </a:t>
          </a:r>
          <a:r>
            <a:rPr lang="en-US" dirty="0" err="1" smtClean="0"/>
            <a:t>dan</a:t>
          </a:r>
          <a:r>
            <a:rPr lang="en-US" dirty="0" smtClean="0"/>
            <a:t> </a:t>
          </a:r>
          <a:r>
            <a:rPr lang="en-US" dirty="0" err="1" smtClean="0"/>
            <a:t>latihan</a:t>
          </a:r>
          <a:r>
            <a:rPr lang="en-US" dirty="0" smtClean="0"/>
            <a:t> </a:t>
          </a:r>
          <a:r>
            <a:rPr lang="en-US" dirty="0" err="1" smtClean="0"/>
            <a:t>kemahiran</a:t>
          </a:r>
          <a:r>
            <a:rPr lang="en-US" dirty="0" smtClean="0"/>
            <a:t> </a:t>
          </a:r>
          <a:r>
            <a:rPr lang="en-US" dirty="0" err="1" smtClean="0"/>
            <a:t>dalam</a:t>
          </a:r>
          <a:r>
            <a:rPr lang="en-US" dirty="0" smtClean="0"/>
            <a:t> </a:t>
          </a:r>
          <a:r>
            <a:rPr lang="en-US" dirty="0" err="1" smtClean="0"/>
            <a:t>halatuju</a:t>
          </a:r>
          <a:r>
            <a:rPr lang="en-US" dirty="0" smtClean="0"/>
            <a:t> JTM</a:t>
          </a:r>
          <a:endParaRPr lang="en-US" dirty="0"/>
        </a:p>
      </dgm:t>
    </dgm:pt>
    <dgm:pt modelId="{06459B5F-6FFF-44FB-AB4A-499A01FE73FE}" type="parTrans" cxnId="{9784C019-1B51-43B4-9F1A-924C7B2F4296}">
      <dgm:prSet/>
      <dgm:spPr/>
      <dgm:t>
        <a:bodyPr/>
        <a:lstStyle/>
        <a:p>
          <a:endParaRPr lang="en-US"/>
        </a:p>
      </dgm:t>
    </dgm:pt>
    <dgm:pt modelId="{B7D17FD8-92D8-4C8B-8312-2CCE5C4431AD}" type="sibTrans" cxnId="{9784C019-1B51-43B4-9F1A-924C7B2F4296}">
      <dgm:prSet/>
      <dgm:spPr/>
      <dgm:t>
        <a:bodyPr/>
        <a:lstStyle/>
        <a:p>
          <a:endParaRPr lang="en-US"/>
        </a:p>
      </dgm:t>
    </dgm:pt>
    <dgm:pt modelId="{870D9D36-12BE-4305-AD3F-0A75AC93CF26}">
      <dgm:prSet phldrT="[Text]"/>
      <dgm:spPr/>
      <dgm:t>
        <a:bodyPr/>
        <a:lstStyle/>
        <a:p>
          <a:r>
            <a:rPr lang="en-US" dirty="0" smtClean="0">
              <a:solidFill>
                <a:schemeClr val="tx1"/>
              </a:solidFill>
            </a:rPr>
            <a:t>Seminar </a:t>
          </a:r>
          <a:r>
            <a:rPr lang="en-US" dirty="0" err="1" smtClean="0">
              <a:solidFill>
                <a:schemeClr val="tx1"/>
              </a:solidFill>
            </a:rPr>
            <a:t>Pengajar</a:t>
          </a:r>
          <a:r>
            <a:rPr lang="en-US" dirty="0" smtClean="0">
              <a:solidFill>
                <a:schemeClr val="tx1"/>
              </a:solidFill>
            </a:rPr>
            <a:t> JTM</a:t>
          </a:r>
          <a:endParaRPr lang="en-US" dirty="0">
            <a:solidFill>
              <a:schemeClr val="tx1"/>
            </a:solidFill>
          </a:endParaRPr>
        </a:p>
      </dgm:t>
    </dgm:pt>
    <dgm:pt modelId="{8061915C-BCEE-435F-895E-641CCE9AB6BC}" type="parTrans" cxnId="{6D871695-4EBE-48AE-8DC6-42D32F5DE9F9}">
      <dgm:prSet/>
      <dgm:spPr/>
      <dgm:t>
        <a:bodyPr/>
        <a:lstStyle/>
        <a:p>
          <a:endParaRPr lang="en-US"/>
        </a:p>
      </dgm:t>
    </dgm:pt>
    <dgm:pt modelId="{25093661-9791-4539-AF50-E53F91AADDA9}" type="sibTrans" cxnId="{6D871695-4EBE-48AE-8DC6-42D32F5DE9F9}">
      <dgm:prSet/>
      <dgm:spPr/>
      <dgm:t>
        <a:bodyPr/>
        <a:lstStyle/>
        <a:p>
          <a:endParaRPr lang="en-US"/>
        </a:p>
      </dgm:t>
    </dgm:pt>
    <dgm:pt modelId="{B8175062-1C3A-4F39-9F3D-9EB0DAA5345E}">
      <dgm:prSet phldrT="[Text]" custT="1"/>
      <dgm:spPr>
        <a:ln>
          <a:solidFill>
            <a:schemeClr val="tx1">
              <a:alpha val="90000"/>
            </a:schemeClr>
          </a:solidFill>
        </a:ln>
      </dgm:spPr>
      <dgm:t>
        <a:bodyPr/>
        <a:lstStyle/>
        <a:p>
          <a:r>
            <a:rPr lang="en-US" sz="3200" dirty="0" smtClean="0"/>
            <a:t>16 </a:t>
          </a:r>
          <a:r>
            <a:rPr lang="en-US" sz="3200" dirty="0" err="1" smtClean="0"/>
            <a:t>disember</a:t>
          </a:r>
          <a:r>
            <a:rPr lang="en-US" sz="3200" dirty="0" smtClean="0"/>
            <a:t> 2014</a:t>
          </a:r>
          <a:endParaRPr lang="en-US" sz="3200" dirty="0"/>
        </a:p>
      </dgm:t>
    </dgm:pt>
    <dgm:pt modelId="{98BE50F5-0A25-400F-BFB5-E0274B7D32C7}" type="parTrans" cxnId="{06824E14-82C7-4F78-9C05-0FD8DB70F471}">
      <dgm:prSet/>
      <dgm:spPr/>
      <dgm:t>
        <a:bodyPr/>
        <a:lstStyle/>
        <a:p>
          <a:endParaRPr lang="en-US"/>
        </a:p>
      </dgm:t>
    </dgm:pt>
    <dgm:pt modelId="{D60CF7D9-7B29-452F-BBD7-146F50559E4D}" type="sibTrans" cxnId="{06824E14-82C7-4F78-9C05-0FD8DB70F471}">
      <dgm:prSet/>
      <dgm:spPr/>
      <dgm:t>
        <a:bodyPr/>
        <a:lstStyle/>
        <a:p>
          <a:endParaRPr lang="en-US"/>
        </a:p>
      </dgm:t>
    </dgm:pt>
    <dgm:pt modelId="{98139BA9-613A-4E8B-9B36-B08528F7AFCF}">
      <dgm:prSet phldrT="[Text]"/>
      <dgm:spPr>
        <a:ln>
          <a:solidFill>
            <a:schemeClr val="tx1">
              <a:alpha val="90000"/>
            </a:schemeClr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US" dirty="0" smtClean="0"/>
            <a:t>NET-WORKING DAN JARINGAN INDUSTRI</a:t>
          </a:r>
          <a:endParaRPr lang="en-US" dirty="0"/>
        </a:p>
      </dgm:t>
    </dgm:pt>
    <dgm:pt modelId="{0E35F60A-438B-4D3B-99BB-B6AD0B4C790E}" type="parTrans" cxnId="{DBDA30BA-1436-471B-9E0F-75F2CF6D5565}">
      <dgm:prSet/>
      <dgm:spPr/>
      <dgm:t>
        <a:bodyPr/>
        <a:lstStyle/>
        <a:p>
          <a:endParaRPr lang="en-US"/>
        </a:p>
      </dgm:t>
    </dgm:pt>
    <dgm:pt modelId="{0C31EE4A-4466-43B6-9B0C-E435F539620C}" type="sibTrans" cxnId="{DBDA30BA-1436-471B-9E0F-75F2CF6D5565}">
      <dgm:prSet/>
      <dgm:spPr/>
      <dgm:t>
        <a:bodyPr/>
        <a:lstStyle/>
        <a:p>
          <a:endParaRPr lang="en-US"/>
        </a:p>
      </dgm:t>
    </dgm:pt>
    <dgm:pt modelId="{BBBB54B9-8A9B-4507-BD24-2E9B2AA0671B}" type="pres">
      <dgm:prSet presAssocID="{AA38345C-C079-4406-B2D3-56B073E8F87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0DFAD7D-656E-4609-A76C-CFB0C90277BB}" type="pres">
      <dgm:prSet presAssocID="{870D9D36-12BE-4305-AD3F-0A75AC93CF26}" presName="boxAndChildren" presStyleCnt="0"/>
      <dgm:spPr/>
    </dgm:pt>
    <dgm:pt modelId="{A4163A19-27F7-4807-BAE0-644D91564C80}" type="pres">
      <dgm:prSet presAssocID="{870D9D36-12BE-4305-AD3F-0A75AC93CF26}" presName="parentTextBox" presStyleLbl="node1" presStyleIdx="0" presStyleCnt="2"/>
      <dgm:spPr/>
      <dgm:t>
        <a:bodyPr/>
        <a:lstStyle/>
        <a:p>
          <a:endParaRPr lang="en-US"/>
        </a:p>
      </dgm:t>
    </dgm:pt>
    <dgm:pt modelId="{C34BA6F4-F7DF-48AC-82D5-E157695F313D}" type="pres">
      <dgm:prSet presAssocID="{870D9D36-12BE-4305-AD3F-0A75AC93CF26}" presName="entireBox" presStyleLbl="node1" presStyleIdx="0" presStyleCnt="2" custScaleY="70218" custLinFactNeighborX="7815" custLinFactNeighborY="-1119"/>
      <dgm:spPr/>
      <dgm:t>
        <a:bodyPr/>
        <a:lstStyle/>
        <a:p>
          <a:endParaRPr lang="en-US"/>
        </a:p>
      </dgm:t>
    </dgm:pt>
    <dgm:pt modelId="{38B65015-EA09-433E-A767-0F97E28BB460}" type="pres">
      <dgm:prSet presAssocID="{870D9D36-12BE-4305-AD3F-0A75AC93CF26}" presName="descendantBox" presStyleCnt="0"/>
      <dgm:spPr/>
    </dgm:pt>
    <dgm:pt modelId="{3B75277B-970E-4D5A-8E65-375B1BC699DF}" type="pres">
      <dgm:prSet presAssocID="{B8175062-1C3A-4F39-9F3D-9EB0DAA5345E}" presName="childTextBox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F162F7-4E9B-48F7-86AB-68617DC962C3}" type="pres">
      <dgm:prSet presAssocID="{98139BA9-613A-4E8B-9B36-B08528F7AFCF}" presName="childTextBox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41DB1E-2601-4F76-B8EA-20A5B15695ED}" type="pres">
      <dgm:prSet presAssocID="{D2EE9E13-2AA5-4290-8C00-128B824FC30F}" presName="sp" presStyleCnt="0"/>
      <dgm:spPr/>
    </dgm:pt>
    <dgm:pt modelId="{9E4F450B-6FDD-414A-A673-A4C01DD9F28E}" type="pres">
      <dgm:prSet presAssocID="{A54D1610-A847-46A8-8AC7-1BA1EF35305B}" presName="arrowAndChildren" presStyleCnt="0"/>
      <dgm:spPr/>
    </dgm:pt>
    <dgm:pt modelId="{0EF33E62-3AD2-4CFB-BCA9-37F0088127C5}" type="pres">
      <dgm:prSet presAssocID="{A54D1610-A847-46A8-8AC7-1BA1EF35305B}" presName="parentTextArrow" presStyleLbl="node1" presStyleIdx="0" presStyleCnt="2"/>
      <dgm:spPr/>
      <dgm:t>
        <a:bodyPr/>
        <a:lstStyle/>
        <a:p>
          <a:endParaRPr lang="en-US"/>
        </a:p>
      </dgm:t>
    </dgm:pt>
    <dgm:pt modelId="{FD8BD28F-EA6A-4D0A-BE12-B90891C0285D}" type="pres">
      <dgm:prSet presAssocID="{A54D1610-A847-46A8-8AC7-1BA1EF35305B}" presName="arrow" presStyleLbl="node1" presStyleIdx="1" presStyleCnt="2" custScaleY="89841"/>
      <dgm:spPr/>
      <dgm:t>
        <a:bodyPr/>
        <a:lstStyle/>
        <a:p>
          <a:endParaRPr lang="en-US"/>
        </a:p>
      </dgm:t>
    </dgm:pt>
    <dgm:pt modelId="{310DFBE0-54ED-4941-AFDA-833761972DA7}" type="pres">
      <dgm:prSet presAssocID="{A54D1610-A847-46A8-8AC7-1BA1EF35305B}" presName="descendantArrow" presStyleCnt="0"/>
      <dgm:spPr/>
    </dgm:pt>
    <dgm:pt modelId="{F7205774-3CED-4854-A791-68B27F03B7E7}" type="pres">
      <dgm:prSet presAssocID="{2C6B9DB3-13E3-46B2-B8CF-A6359D1BCE9F}" presName="childTextArrow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F2FBD6-0FE6-47D3-A7F8-9EE54ECFDD40}" type="pres">
      <dgm:prSet presAssocID="{74481462-D45E-432B-94F0-157DE247B63E}" presName="childTextArrow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6B777A2-599A-46C5-8CCB-6661F2BA4AF8}" type="presOf" srcId="{74481462-D45E-432B-94F0-157DE247B63E}" destId="{AFF2FBD6-0FE6-47D3-A7F8-9EE54ECFDD40}" srcOrd="0" destOrd="0" presId="urn:microsoft.com/office/officeart/2005/8/layout/process4"/>
    <dgm:cxn modelId="{9784C019-1B51-43B4-9F1A-924C7B2F4296}" srcId="{A54D1610-A847-46A8-8AC7-1BA1EF35305B}" destId="{74481462-D45E-432B-94F0-157DE247B63E}" srcOrd="1" destOrd="0" parTransId="{06459B5F-6FFF-44FB-AB4A-499A01FE73FE}" sibTransId="{B7D17FD8-92D8-4C8B-8312-2CCE5C4431AD}"/>
    <dgm:cxn modelId="{555E63C6-99B6-4C2C-A4CA-0AF6208D1F7F}" type="presOf" srcId="{870D9D36-12BE-4305-AD3F-0A75AC93CF26}" destId="{A4163A19-27F7-4807-BAE0-644D91564C80}" srcOrd="0" destOrd="0" presId="urn:microsoft.com/office/officeart/2005/8/layout/process4"/>
    <dgm:cxn modelId="{6D871695-4EBE-48AE-8DC6-42D32F5DE9F9}" srcId="{AA38345C-C079-4406-B2D3-56B073E8F877}" destId="{870D9D36-12BE-4305-AD3F-0A75AC93CF26}" srcOrd="1" destOrd="0" parTransId="{8061915C-BCEE-435F-895E-641CCE9AB6BC}" sibTransId="{25093661-9791-4539-AF50-E53F91AADDA9}"/>
    <dgm:cxn modelId="{84775005-70B1-493E-9EDC-82FB7E86FD05}" type="presOf" srcId="{A54D1610-A847-46A8-8AC7-1BA1EF35305B}" destId="{FD8BD28F-EA6A-4D0A-BE12-B90891C0285D}" srcOrd="1" destOrd="0" presId="urn:microsoft.com/office/officeart/2005/8/layout/process4"/>
    <dgm:cxn modelId="{9E42C5D5-46CD-4C44-BF67-9CFEDA4F9946}" type="presOf" srcId="{870D9D36-12BE-4305-AD3F-0A75AC93CF26}" destId="{C34BA6F4-F7DF-48AC-82D5-E157695F313D}" srcOrd="1" destOrd="0" presId="urn:microsoft.com/office/officeart/2005/8/layout/process4"/>
    <dgm:cxn modelId="{7577049E-BA4F-4E21-9C9C-3781E2A54205}" type="presOf" srcId="{B8175062-1C3A-4F39-9F3D-9EB0DAA5345E}" destId="{3B75277B-970E-4D5A-8E65-375B1BC699DF}" srcOrd="0" destOrd="0" presId="urn:microsoft.com/office/officeart/2005/8/layout/process4"/>
    <dgm:cxn modelId="{824CA830-9D80-4509-A375-B60E0745306D}" type="presOf" srcId="{2C6B9DB3-13E3-46B2-B8CF-A6359D1BCE9F}" destId="{F7205774-3CED-4854-A791-68B27F03B7E7}" srcOrd="0" destOrd="0" presId="urn:microsoft.com/office/officeart/2005/8/layout/process4"/>
    <dgm:cxn modelId="{6806A760-1DF4-4E72-9F19-5290660F905C}" srcId="{AA38345C-C079-4406-B2D3-56B073E8F877}" destId="{A54D1610-A847-46A8-8AC7-1BA1EF35305B}" srcOrd="0" destOrd="0" parTransId="{EC03B7B5-B1F4-4B3D-833C-008D082EAF6D}" sibTransId="{D2EE9E13-2AA5-4290-8C00-128B824FC30F}"/>
    <dgm:cxn modelId="{28F4D5BD-BF07-4A85-BAF9-91299FD9A7E5}" type="presOf" srcId="{AA38345C-C079-4406-B2D3-56B073E8F877}" destId="{BBBB54B9-8A9B-4507-BD24-2E9B2AA0671B}" srcOrd="0" destOrd="0" presId="urn:microsoft.com/office/officeart/2005/8/layout/process4"/>
    <dgm:cxn modelId="{2AC0B77B-2C71-4D0A-A925-4DA25B7F352E}" type="presOf" srcId="{98139BA9-613A-4E8B-9B36-B08528F7AFCF}" destId="{E1F162F7-4E9B-48F7-86AB-68617DC962C3}" srcOrd="0" destOrd="0" presId="urn:microsoft.com/office/officeart/2005/8/layout/process4"/>
    <dgm:cxn modelId="{DBDA30BA-1436-471B-9E0F-75F2CF6D5565}" srcId="{870D9D36-12BE-4305-AD3F-0A75AC93CF26}" destId="{98139BA9-613A-4E8B-9B36-B08528F7AFCF}" srcOrd="1" destOrd="0" parTransId="{0E35F60A-438B-4D3B-99BB-B6AD0B4C790E}" sibTransId="{0C31EE4A-4466-43B6-9B0C-E435F539620C}"/>
    <dgm:cxn modelId="{E6446239-034A-41CF-B955-FBA377174697}" type="presOf" srcId="{A54D1610-A847-46A8-8AC7-1BA1EF35305B}" destId="{0EF33E62-3AD2-4CFB-BCA9-37F0088127C5}" srcOrd="0" destOrd="0" presId="urn:microsoft.com/office/officeart/2005/8/layout/process4"/>
    <dgm:cxn modelId="{0CE40658-D9CB-4B01-82AE-39B1AC405271}" srcId="{A54D1610-A847-46A8-8AC7-1BA1EF35305B}" destId="{2C6B9DB3-13E3-46B2-B8CF-A6359D1BCE9F}" srcOrd="0" destOrd="0" parTransId="{B726C5C4-9ED8-45A6-A618-6C8BB36AB8E4}" sibTransId="{491903A1-D607-4603-945B-56BBBCA7060F}"/>
    <dgm:cxn modelId="{06824E14-82C7-4F78-9C05-0FD8DB70F471}" srcId="{870D9D36-12BE-4305-AD3F-0A75AC93CF26}" destId="{B8175062-1C3A-4F39-9F3D-9EB0DAA5345E}" srcOrd="0" destOrd="0" parTransId="{98BE50F5-0A25-400F-BFB5-E0274B7D32C7}" sibTransId="{D60CF7D9-7B29-452F-BBD7-146F50559E4D}"/>
    <dgm:cxn modelId="{075E5D0A-EE4B-47D6-8A1E-604B3BA13968}" type="presParOf" srcId="{BBBB54B9-8A9B-4507-BD24-2E9B2AA0671B}" destId="{60DFAD7D-656E-4609-A76C-CFB0C90277BB}" srcOrd="0" destOrd="0" presId="urn:microsoft.com/office/officeart/2005/8/layout/process4"/>
    <dgm:cxn modelId="{67D8948A-8376-47A3-9763-F93B672C7E6F}" type="presParOf" srcId="{60DFAD7D-656E-4609-A76C-CFB0C90277BB}" destId="{A4163A19-27F7-4807-BAE0-644D91564C80}" srcOrd="0" destOrd="0" presId="urn:microsoft.com/office/officeart/2005/8/layout/process4"/>
    <dgm:cxn modelId="{2DE7CF36-E600-465F-A6F7-6FDEE272E248}" type="presParOf" srcId="{60DFAD7D-656E-4609-A76C-CFB0C90277BB}" destId="{C34BA6F4-F7DF-48AC-82D5-E157695F313D}" srcOrd="1" destOrd="0" presId="urn:microsoft.com/office/officeart/2005/8/layout/process4"/>
    <dgm:cxn modelId="{5230EA29-E85C-4F1D-B6D2-403D43465201}" type="presParOf" srcId="{60DFAD7D-656E-4609-A76C-CFB0C90277BB}" destId="{38B65015-EA09-433E-A767-0F97E28BB460}" srcOrd="2" destOrd="0" presId="urn:microsoft.com/office/officeart/2005/8/layout/process4"/>
    <dgm:cxn modelId="{495BA042-D526-4E1E-97A9-C3F9518D336F}" type="presParOf" srcId="{38B65015-EA09-433E-A767-0F97E28BB460}" destId="{3B75277B-970E-4D5A-8E65-375B1BC699DF}" srcOrd="0" destOrd="0" presId="urn:microsoft.com/office/officeart/2005/8/layout/process4"/>
    <dgm:cxn modelId="{3433C7AE-CBD6-479D-8DE8-0F59F263B230}" type="presParOf" srcId="{38B65015-EA09-433E-A767-0F97E28BB460}" destId="{E1F162F7-4E9B-48F7-86AB-68617DC962C3}" srcOrd="1" destOrd="0" presId="urn:microsoft.com/office/officeart/2005/8/layout/process4"/>
    <dgm:cxn modelId="{D417C52B-6851-45B9-8081-BD8852BAD730}" type="presParOf" srcId="{BBBB54B9-8A9B-4507-BD24-2E9B2AA0671B}" destId="{0441DB1E-2601-4F76-B8EA-20A5B15695ED}" srcOrd="1" destOrd="0" presId="urn:microsoft.com/office/officeart/2005/8/layout/process4"/>
    <dgm:cxn modelId="{28D8BDA8-8698-4B01-99B3-99F0C0319494}" type="presParOf" srcId="{BBBB54B9-8A9B-4507-BD24-2E9B2AA0671B}" destId="{9E4F450B-6FDD-414A-A673-A4C01DD9F28E}" srcOrd="2" destOrd="0" presId="urn:microsoft.com/office/officeart/2005/8/layout/process4"/>
    <dgm:cxn modelId="{5EBEEDE7-7F30-4B9C-8D7A-72956D2C428B}" type="presParOf" srcId="{9E4F450B-6FDD-414A-A673-A4C01DD9F28E}" destId="{0EF33E62-3AD2-4CFB-BCA9-37F0088127C5}" srcOrd="0" destOrd="0" presId="urn:microsoft.com/office/officeart/2005/8/layout/process4"/>
    <dgm:cxn modelId="{43BD0AEA-2399-40D3-8684-07D090524B68}" type="presParOf" srcId="{9E4F450B-6FDD-414A-A673-A4C01DD9F28E}" destId="{FD8BD28F-EA6A-4D0A-BE12-B90891C0285D}" srcOrd="1" destOrd="0" presId="urn:microsoft.com/office/officeart/2005/8/layout/process4"/>
    <dgm:cxn modelId="{92A1009E-F16E-4AC9-BCB9-CF0E1E7C1E1B}" type="presParOf" srcId="{9E4F450B-6FDD-414A-A673-A4C01DD9F28E}" destId="{310DFBE0-54ED-4941-AFDA-833761972DA7}" srcOrd="2" destOrd="0" presId="urn:microsoft.com/office/officeart/2005/8/layout/process4"/>
    <dgm:cxn modelId="{CA49E5F5-7853-4B0A-A425-4FB96316420E}" type="presParOf" srcId="{310DFBE0-54ED-4941-AFDA-833761972DA7}" destId="{F7205774-3CED-4854-A791-68B27F03B7E7}" srcOrd="0" destOrd="0" presId="urn:microsoft.com/office/officeart/2005/8/layout/process4"/>
    <dgm:cxn modelId="{3B5C4DDF-727E-4303-B47F-643CE6489093}" type="presParOf" srcId="{310DFBE0-54ED-4941-AFDA-833761972DA7}" destId="{AFF2FBD6-0FE6-47D3-A7F8-9EE54ECFDD40}" srcOrd="1" destOrd="0" presId="urn:microsoft.com/office/officeart/2005/8/layout/process4"/>
  </dgm:cxnLst>
  <dgm:bg/>
  <dgm:whole/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C0431A-7CB7-4879-8E35-8C6DE31A2FF9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MY"/>
        </a:p>
      </dgm:t>
    </dgm:pt>
    <dgm:pt modelId="{F6CAB2CA-A2A7-488F-9C09-260D302BEF0A}">
      <dgm:prSet/>
      <dgm:spPr>
        <a:solidFill>
          <a:srgbClr val="C00000"/>
        </a:solidFill>
      </dgm:spPr>
      <dgm:t>
        <a:bodyPr/>
        <a:lstStyle/>
        <a:p>
          <a:endParaRPr lang="en-MY" dirty="0"/>
        </a:p>
      </dgm:t>
    </dgm:pt>
    <dgm:pt modelId="{D32C801A-EA38-4255-8E27-C81B4227882A}" type="parTrans" cxnId="{1429FDFB-C0CC-4F55-AFF5-5620B725612E}">
      <dgm:prSet/>
      <dgm:spPr/>
      <dgm:t>
        <a:bodyPr/>
        <a:lstStyle/>
        <a:p>
          <a:endParaRPr lang="en-MY"/>
        </a:p>
      </dgm:t>
    </dgm:pt>
    <dgm:pt modelId="{E955A916-4DF1-467C-A588-A22910930869}" type="sibTrans" cxnId="{1429FDFB-C0CC-4F55-AFF5-5620B725612E}">
      <dgm:prSet/>
      <dgm:spPr/>
      <dgm:t>
        <a:bodyPr/>
        <a:lstStyle/>
        <a:p>
          <a:endParaRPr lang="en-MY"/>
        </a:p>
      </dgm:t>
    </dgm:pt>
    <dgm:pt modelId="{800CBE71-5DB0-400A-9C9E-B8D679BDD404}" type="pres">
      <dgm:prSet presAssocID="{43C0431A-7CB7-4879-8E35-8C6DE31A2FF9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MY"/>
        </a:p>
      </dgm:t>
    </dgm:pt>
    <dgm:pt modelId="{6EA78587-7222-4F4B-9B91-28F651BC6404}" type="pres">
      <dgm:prSet presAssocID="{F6CAB2CA-A2A7-488F-9C09-260D302BEF0A}" presName="comp" presStyleCnt="0"/>
      <dgm:spPr/>
    </dgm:pt>
    <dgm:pt modelId="{FC3FB768-894D-4BCC-A472-C325ECA2941A}" type="pres">
      <dgm:prSet presAssocID="{F6CAB2CA-A2A7-488F-9C09-260D302BEF0A}" presName="box" presStyleLbl="node1" presStyleIdx="0" presStyleCnt="1" custAng="0" custFlipVert="1" custScaleY="8121" custLinFactY="51" custLinFactNeighborX="-1667" custLinFactNeighborY="100000"/>
      <dgm:spPr/>
      <dgm:t>
        <a:bodyPr/>
        <a:lstStyle/>
        <a:p>
          <a:endParaRPr lang="en-MY"/>
        </a:p>
      </dgm:t>
    </dgm:pt>
    <dgm:pt modelId="{C8441DCA-D4BA-4D6A-BF18-577A49B66543}" type="pres">
      <dgm:prSet presAssocID="{F6CAB2CA-A2A7-488F-9C09-260D302BEF0A}" presName="img" presStyleLbl="fgImgPlace1" presStyleIdx="0" presStyleCnt="1" custScaleX="49152" custLinFactNeighborX="-36017" custLinFactNeighborY="25000"/>
      <dgm:spPr>
        <a:noFill/>
      </dgm:spPr>
    </dgm:pt>
    <dgm:pt modelId="{979235BD-E6D4-423B-9D29-DA9756A9C6C4}" type="pres">
      <dgm:prSet presAssocID="{F6CAB2CA-A2A7-488F-9C09-260D302BEF0A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MY"/>
        </a:p>
      </dgm:t>
    </dgm:pt>
  </dgm:ptLst>
  <dgm:cxnLst>
    <dgm:cxn modelId="{1429FDFB-C0CC-4F55-AFF5-5620B725612E}" srcId="{43C0431A-7CB7-4879-8E35-8C6DE31A2FF9}" destId="{F6CAB2CA-A2A7-488F-9C09-260D302BEF0A}" srcOrd="0" destOrd="0" parTransId="{D32C801A-EA38-4255-8E27-C81B4227882A}" sibTransId="{E955A916-4DF1-467C-A588-A22910930869}"/>
    <dgm:cxn modelId="{D7366EA9-8037-4DE1-BCAD-7558F9E1682E}" type="presOf" srcId="{43C0431A-7CB7-4879-8E35-8C6DE31A2FF9}" destId="{800CBE71-5DB0-400A-9C9E-B8D679BDD404}" srcOrd="0" destOrd="0" presId="urn:microsoft.com/office/officeart/2005/8/layout/vList4"/>
    <dgm:cxn modelId="{8B31A7A3-6BF5-4D87-874D-8F3B6AA2BEFF}" type="presOf" srcId="{F6CAB2CA-A2A7-488F-9C09-260D302BEF0A}" destId="{979235BD-E6D4-423B-9D29-DA9756A9C6C4}" srcOrd="1" destOrd="0" presId="urn:microsoft.com/office/officeart/2005/8/layout/vList4"/>
    <dgm:cxn modelId="{276CFE95-3045-42FD-9E08-183F6493C837}" type="presOf" srcId="{F6CAB2CA-A2A7-488F-9C09-260D302BEF0A}" destId="{FC3FB768-894D-4BCC-A472-C325ECA2941A}" srcOrd="0" destOrd="0" presId="urn:microsoft.com/office/officeart/2005/8/layout/vList4"/>
    <dgm:cxn modelId="{0527CABE-4274-4D76-B9CA-E783C4CA0884}" type="presParOf" srcId="{800CBE71-5DB0-400A-9C9E-B8D679BDD404}" destId="{6EA78587-7222-4F4B-9B91-28F651BC6404}" srcOrd="0" destOrd="0" presId="urn:microsoft.com/office/officeart/2005/8/layout/vList4"/>
    <dgm:cxn modelId="{4204998E-5DCF-4BA0-8EEA-B1D667CCA4B3}" type="presParOf" srcId="{6EA78587-7222-4F4B-9B91-28F651BC6404}" destId="{FC3FB768-894D-4BCC-A472-C325ECA2941A}" srcOrd="0" destOrd="0" presId="urn:microsoft.com/office/officeart/2005/8/layout/vList4"/>
    <dgm:cxn modelId="{44057E7E-0834-4824-B592-3A3BA62D0996}" type="presParOf" srcId="{6EA78587-7222-4F4B-9B91-28F651BC6404}" destId="{C8441DCA-D4BA-4D6A-BF18-577A49B66543}" srcOrd="1" destOrd="0" presId="urn:microsoft.com/office/officeart/2005/8/layout/vList4"/>
    <dgm:cxn modelId="{8955B275-4AC0-432A-8AD6-01BEF69FBE8E}" type="presParOf" srcId="{6EA78587-7222-4F4B-9B91-28F651BC6404}" destId="{979235BD-E6D4-423B-9D29-DA9756A9C6C4}" srcOrd="2" destOrd="0" presId="urn:microsoft.com/office/officeart/2005/8/layout/vList4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2BF9ED7-9477-4F92-A71D-70547664C4D7}" type="doc">
      <dgm:prSet loTypeId="urn:microsoft.com/office/officeart/2005/8/layout/matrix2" loCatId="matrix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20B8414-4044-4BA6-B157-C52E74AE0638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r>
            <a:rPr lang="en-US" sz="3400" dirty="0" smtClean="0">
              <a:solidFill>
                <a:schemeClr val="tx1"/>
              </a:solidFill>
            </a:rPr>
            <a:t>ELIMINATE</a:t>
          </a:r>
        </a:p>
        <a:p>
          <a:r>
            <a:rPr lang="en-US" sz="3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ursus</a:t>
          </a:r>
          <a:r>
            <a: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3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yg</a:t>
          </a:r>
          <a:r>
            <a: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3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urang</a:t>
          </a:r>
          <a:r>
            <a: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3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iperlukan</a:t>
          </a:r>
          <a:r>
            <a: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32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3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DA9C177D-1785-47F5-9077-2EA994F9DF60}" type="parTrans" cxnId="{F388B8F8-3694-4837-912D-70B8A301272B}">
      <dgm:prSet/>
      <dgm:spPr/>
      <dgm:t>
        <a:bodyPr/>
        <a:lstStyle/>
        <a:p>
          <a:endParaRPr lang="en-US"/>
        </a:p>
      </dgm:t>
    </dgm:pt>
    <dgm:pt modelId="{8822D7F7-B5FA-4118-BAB8-0FC34C5812A1}" type="sibTrans" cxnId="{F388B8F8-3694-4837-912D-70B8A301272B}">
      <dgm:prSet/>
      <dgm:spPr/>
      <dgm:t>
        <a:bodyPr/>
        <a:lstStyle/>
        <a:p>
          <a:endParaRPr lang="en-US"/>
        </a:p>
      </dgm:t>
    </dgm:pt>
    <dgm:pt modelId="{38E034E2-761F-4B8C-A71F-0735F2B09380}">
      <dgm:prSet phldrT="[Text]" custT="1"/>
      <dgm:spPr>
        <a:solidFill>
          <a:schemeClr val="bg1"/>
        </a:solidFill>
        <a:ln>
          <a:solidFill>
            <a:schemeClr val="accent1"/>
          </a:solidFill>
        </a:ln>
        <a:effectLst>
          <a:innerShdw blurRad="114300">
            <a:prstClr val="black"/>
          </a:innerShdw>
        </a:effectLst>
      </dgm:spPr>
      <dgm:t>
        <a:bodyPr/>
        <a:lstStyle/>
        <a:p>
          <a:r>
            <a:rPr lang="en-US" sz="3600" dirty="0" smtClean="0">
              <a:solidFill>
                <a:schemeClr val="tx1"/>
              </a:solidFill>
            </a:rPr>
            <a:t>REDUCE</a:t>
          </a:r>
        </a:p>
        <a:p>
          <a:endParaRPr lang="en-US" sz="3600" dirty="0" smtClean="0">
            <a:solidFill>
              <a:schemeClr val="tx1"/>
            </a:solidFill>
          </a:endParaRPr>
        </a:p>
        <a:p>
          <a:r>
            <a:rPr lang="en-US" sz="3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NIL-</a:t>
          </a:r>
          <a:endParaRPr lang="en-US" sz="32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F344912B-1B32-4BDA-90B6-B0304152E049}" type="parTrans" cxnId="{5DC527C1-4591-4C33-9CD2-BB823F399212}">
      <dgm:prSet/>
      <dgm:spPr/>
      <dgm:t>
        <a:bodyPr/>
        <a:lstStyle/>
        <a:p>
          <a:endParaRPr lang="en-US"/>
        </a:p>
      </dgm:t>
    </dgm:pt>
    <dgm:pt modelId="{C62665ED-C1BE-4BF7-A4B6-26F18B0D373E}" type="sibTrans" cxnId="{5DC527C1-4591-4C33-9CD2-BB823F399212}">
      <dgm:prSet/>
      <dgm:spPr/>
      <dgm:t>
        <a:bodyPr/>
        <a:lstStyle/>
        <a:p>
          <a:endParaRPr lang="en-US"/>
        </a:p>
      </dgm:t>
    </dgm:pt>
    <dgm:pt modelId="{D1158BC2-5251-449F-81C3-9B215CF7B7A5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algn="ctr"/>
          <a:r>
            <a:rPr lang="en-US" sz="2800" dirty="0" smtClean="0">
              <a:solidFill>
                <a:schemeClr val="tx1"/>
              </a:solidFill>
            </a:rPr>
            <a:t>CREATE</a:t>
          </a: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rsijil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rofesional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ecar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eparuh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asa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Seminar CUDBAS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epad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empatk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CUDBAS Leader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i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angkal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Data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rofil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i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usat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umber</a:t>
          </a:r>
          <a:endParaRPr lang="en-US" sz="1400" dirty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4924C4DF-A3CF-4B85-BF0D-C29BA7427F98}" type="parTrans" cxnId="{F3A788C3-A46C-4766-ADB4-D66E689D2013}">
      <dgm:prSet/>
      <dgm:spPr/>
      <dgm:t>
        <a:bodyPr/>
        <a:lstStyle/>
        <a:p>
          <a:endParaRPr lang="en-US"/>
        </a:p>
      </dgm:t>
    </dgm:pt>
    <dgm:pt modelId="{823667BD-2E37-44A1-AF74-B06CBB59AF2B}" type="sibTrans" cxnId="{F3A788C3-A46C-4766-ADB4-D66E689D2013}">
      <dgm:prSet/>
      <dgm:spPr/>
      <dgm:t>
        <a:bodyPr/>
        <a:lstStyle/>
        <a:p>
          <a:endParaRPr lang="en-US"/>
        </a:p>
      </dgm:t>
    </dgm:pt>
    <dgm:pt modelId="{57E7CEE0-146E-4AC7-A60B-B53AE2F11481}">
      <dgm:prSet phldrT="[Text]" custT="1"/>
      <dgm:spPr>
        <a:solidFill>
          <a:schemeClr val="bg1"/>
        </a:solidFill>
        <a:ln>
          <a:solidFill>
            <a:schemeClr val="accent1"/>
          </a:solidFill>
        </a:ln>
      </dgm:spPr>
      <dgm:t>
        <a:bodyPr/>
        <a:lstStyle/>
        <a:p>
          <a:pPr algn="ctr"/>
          <a:r>
            <a:rPr lang="en-US" sz="2800" dirty="0" smtClean="0">
              <a:solidFill>
                <a:schemeClr val="tx1"/>
              </a:solidFill>
            </a:rPr>
            <a:t>RAISE</a:t>
          </a: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ursus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Separuh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Mas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epad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kerj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ILJTM 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i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Tauliah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Utk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Latih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rsijil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rofesional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MOU/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Kerjasama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intar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engan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Attachment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nsyarah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Di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Dalam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Dan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Luarnegara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/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#JK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Penasihat</a:t>
          </a:r>
          <a:r>
            <a:rPr lang="en-US" sz="14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en-US" sz="14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Industri</a:t>
          </a:r>
          <a:endParaRPr lang="en-US" sz="14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ctr"/>
          <a:endParaRPr lang="en-US" sz="2800" dirty="0"/>
        </a:p>
      </dgm:t>
    </dgm:pt>
    <dgm:pt modelId="{7153AA24-B21C-4880-990E-0FB42D932AFF}" type="parTrans" cxnId="{FFC949A8-BCE6-4C18-AE40-1412EEDEBD9F}">
      <dgm:prSet/>
      <dgm:spPr/>
      <dgm:t>
        <a:bodyPr/>
        <a:lstStyle/>
        <a:p>
          <a:endParaRPr lang="en-US"/>
        </a:p>
      </dgm:t>
    </dgm:pt>
    <dgm:pt modelId="{0C9143D9-81F5-4B43-A2C8-1A40D9A1A9C3}" type="sibTrans" cxnId="{FFC949A8-BCE6-4C18-AE40-1412EEDEBD9F}">
      <dgm:prSet/>
      <dgm:spPr/>
      <dgm:t>
        <a:bodyPr/>
        <a:lstStyle/>
        <a:p>
          <a:endParaRPr lang="en-US"/>
        </a:p>
      </dgm:t>
    </dgm:pt>
    <dgm:pt modelId="{31B0DAF8-A1C3-470C-A1D4-1954396B568C}" type="pres">
      <dgm:prSet presAssocID="{C2BF9ED7-9477-4F92-A71D-70547664C4D7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0748350-FB56-4A4A-88EF-F4C469A1CD0B}" type="pres">
      <dgm:prSet presAssocID="{C2BF9ED7-9477-4F92-A71D-70547664C4D7}" presName="axisShape" presStyleLbl="bgShp" presStyleIdx="0" presStyleCnt="1" custLinFactNeighborX="-3209"/>
      <dgm:spPr>
        <a:ln>
          <a:solidFill>
            <a:schemeClr val="accent3"/>
          </a:solidFill>
        </a:ln>
      </dgm:spPr>
      <dgm:t>
        <a:bodyPr/>
        <a:lstStyle/>
        <a:p>
          <a:endParaRPr lang="en-US"/>
        </a:p>
      </dgm:t>
    </dgm:pt>
    <dgm:pt modelId="{A336D0C9-62F8-4E31-844B-5E1CD9AC85B6}" type="pres">
      <dgm:prSet presAssocID="{C2BF9ED7-9477-4F92-A71D-70547664C4D7}" presName="rect1" presStyleLbl="node1" presStyleIdx="0" presStyleCnt="4" custScaleX="142990" custLinFactNeighborX="-24999" custLinFactNeighborY="-236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5B444F-75EA-4D7C-8B22-8E36703FF272}" type="pres">
      <dgm:prSet presAssocID="{C2BF9ED7-9477-4F92-A71D-70547664C4D7}" presName="rect2" presStyleLbl="node1" presStyleIdx="1" presStyleCnt="4" custScaleX="160899" custLinFactNeighborX="19233" custLinFactNeighborY="4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507C158-F199-460F-A169-C1E0C909AF34}" type="pres">
      <dgm:prSet presAssocID="{C2BF9ED7-9477-4F92-A71D-70547664C4D7}" presName="rect3" presStyleLbl="node1" presStyleIdx="2" presStyleCnt="4" custScaleX="147750" custLinFactNeighborX="-28175" custLinFactNeighborY="-4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6F88E1-85F6-43ED-B358-50F73D164DF8}" type="pres">
      <dgm:prSet presAssocID="{C2BF9ED7-9477-4F92-A71D-70547664C4D7}" presName="rect4" presStyleLbl="node1" presStyleIdx="3" presStyleCnt="4" custScaleX="171217" custLinFactNeighborX="21614" custLinFactNeighborY="-41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BB2B731-FEF7-4307-8201-F769EEA1BF6E}" type="presOf" srcId="{57E7CEE0-146E-4AC7-A60B-B53AE2F11481}" destId="{806F88E1-85F6-43ED-B358-50F73D164DF8}" srcOrd="0" destOrd="0" presId="urn:microsoft.com/office/officeart/2005/8/layout/matrix2"/>
    <dgm:cxn modelId="{EBB156F7-62D8-4E3D-B31A-9F5CA1AF8A39}" type="presOf" srcId="{820B8414-4044-4BA6-B157-C52E74AE0638}" destId="{A336D0C9-62F8-4E31-844B-5E1CD9AC85B6}" srcOrd="0" destOrd="0" presId="urn:microsoft.com/office/officeart/2005/8/layout/matrix2"/>
    <dgm:cxn modelId="{F388B8F8-3694-4837-912D-70B8A301272B}" srcId="{C2BF9ED7-9477-4F92-A71D-70547664C4D7}" destId="{820B8414-4044-4BA6-B157-C52E74AE0638}" srcOrd="0" destOrd="0" parTransId="{DA9C177D-1785-47F5-9077-2EA994F9DF60}" sibTransId="{8822D7F7-B5FA-4118-BAB8-0FC34C5812A1}"/>
    <dgm:cxn modelId="{D88366D4-2895-4FA3-B9F3-43ED02A27BE9}" type="presOf" srcId="{D1158BC2-5251-449F-81C3-9B215CF7B7A5}" destId="{2507C158-F199-460F-A169-C1E0C909AF34}" srcOrd="0" destOrd="0" presId="urn:microsoft.com/office/officeart/2005/8/layout/matrix2"/>
    <dgm:cxn modelId="{1E1D631C-FF06-4425-9FAE-4D2CA567824B}" type="presOf" srcId="{C2BF9ED7-9477-4F92-A71D-70547664C4D7}" destId="{31B0DAF8-A1C3-470C-A1D4-1954396B568C}" srcOrd="0" destOrd="0" presId="urn:microsoft.com/office/officeart/2005/8/layout/matrix2"/>
    <dgm:cxn modelId="{5DC527C1-4591-4C33-9CD2-BB823F399212}" srcId="{C2BF9ED7-9477-4F92-A71D-70547664C4D7}" destId="{38E034E2-761F-4B8C-A71F-0735F2B09380}" srcOrd="1" destOrd="0" parTransId="{F344912B-1B32-4BDA-90B6-B0304152E049}" sibTransId="{C62665ED-C1BE-4BF7-A4B6-26F18B0D373E}"/>
    <dgm:cxn modelId="{F3A788C3-A46C-4766-ADB4-D66E689D2013}" srcId="{C2BF9ED7-9477-4F92-A71D-70547664C4D7}" destId="{D1158BC2-5251-449F-81C3-9B215CF7B7A5}" srcOrd="2" destOrd="0" parTransId="{4924C4DF-A3CF-4B85-BF0D-C29BA7427F98}" sibTransId="{823667BD-2E37-44A1-AF74-B06CBB59AF2B}"/>
    <dgm:cxn modelId="{FFC949A8-BCE6-4C18-AE40-1412EEDEBD9F}" srcId="{C2BF9ED7-9477-4F92-A71D-70547664C4D7}" destId="{57E7CEE0-146E-4AC7-A60B-B53AE2F11481}" srcOrd="3" destOrd="0" parTransId="{7153AA24-B21C-4880-990E-0FB42D932AFF}" sibTransId="{0C9143D9-81F5-4B43-A2C8-1A40D9A1A9C3}"/>
    <dgm:cxn modelId="{843F419C-B006-40BC-B3D0-CBFA27463AEC}" type="presOf" srcId="{38E034E2-761F-4B8C-A71F-0735F2B09380}" destId="{2A5B444F-75EA-4D7C-8B22-8E36703FF272}" srcOrd="0" destOrd="0" presId="urn:microsoft.com/office/officeart/2005/8/layout/matrix2"/>
    <dgm:cxn modelId="{BE2F2E58-9CC5-4F46-8831-E28CD19FFB97}" type="presParOf" srcId="{31B0DAF8-A1C3-470C-A1D4-1954396B568C}" destId="{30748350-FB56-4A4A-88EF-F4C469A1CD0B}" srcOrd="0" destOrd="0" presId="urn:microsoft.com/office/officeart/2005/8/layout/matrix2"/>
    <dgm:cxn modelId="{96F0D101-5535-4ED6-9F3D-3E8B44C6E9B9}" type="presParOf" srcId="{31B0DAF8-A1C3-470C-A1D4-1954396B568C}" destId="{A336D0C9-62F8-4E31-844B-5E1CD9AC85B6}" srcOrd="1" destOrd="0" presId="urn:microsoft.com/office/officeart/2005/8/layout/matrix2"/>
    <dgm:cxn modelId="{A59E5EF8-3D8A-4511-A2F6-725BD4D5105B}" type="presParOf" srcId="{31B0DAF8-A1C3-470C-A1D4-1954396B568C}" destId="{2A5B444F-75EA-4D7C-8B22-8E36703FF272}" srcOrd="2" destOrd="0" presId="urn:microsoft.com/office/officeart/2005/8/layout/matrix2"/>
    <dgm:cxn modelId="{D2D2668E-D18C-4452-A5CB-7A2C6FBC3BDA}" type="presParOf" srcId="{31B0DAF8-A1C3-470C-A1D4-1954396B568C}" destId="{2507C158-F199-460F-A169-C1E0C909AF34}" srcOrd="3" destOrd="0" presId="urn:microsoft.com/office/officeart/2005/8/layout/matrix2"/>
    <dgm:cxn modelId="{6799DCE6-E391-429F-8C88-716EDFC2D21E}" type="presParOf" srcId="{31B0DAF8-A1C3-470C-A1D4-1954396B568C}" destId="{806F88E1-85F6-43ED-B358-50F73D164DF8}" srcOrd="4" destOrd="0" presId="urn:microsoft.com/office/officeart/2005/8/layout/matrix2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987</cdr:x>
      <cdr:y>0</cdr:y>
    </cdr:from>
    <cdr:to>
      <cdr:x>0.1794</cdr:x>
      <cdr:y>0.69118</cdr:y>
    </cdr:to>
    <cdr:sp macro="" textlink="">
      <cdr:nvSpPr>
        <cdr:cNvPr id="2" name="Rounded Rectangle 1"/>
        <cdr:cNvSpPr/>
      </cdr:nvSpPr>
      <cdr:spPr>
        <a:xfrm xmlns:a="http://schemas.openxmlformats.org/drawingml/2006/main">
          <a:off x="285772" y="0"/>
          <a:ext cx="1000112" cy="3357603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5875" cap="rnd">
          <a:solidFill>
            <a:srgbClr val="800000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9DB0B1-C724-47FC-939C-238A3E9D8E7A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D2388C-244C-451F-A6BC-C372992B596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ms-MY" altLang="en-US" smtClean="0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0F5A754-A1B0-49FA-AF2E-0C1BF525D656}" type="slidenum">
              <a:rPr lang="en-US" altLang="en-US" smtClean="0"/>
              <a:pPr/>
              <a:t>1</a:t>
            </a:fld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MY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040E3AC0-C853-4F67-86BB-3EB7D63425B0}" type="slidenum">
              <a:rPr lang="en-MY" smtClean="0"/>
              <a:pPr eaLnBrk="1" hangingPunct="1"/>
              <a:t>9</a:t>
            </a:fld>
            <a:endParaRPr lang="en-MY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11300" y="296863"/>
            <a:ext cx="4025900" cy="3021012"/>
          </a:xfrm>
          <a:ln/>
        </p:spPr>
      </p:sp>
      <p:sp>
        <p:nvSpPr>
          <p:cNvPr id="45059" name="Footer Placeholder 5"/>
          <p:cNvSpPr txBox="1">
            <a:spLocks noGrp="1"/>
          </p:cNvSpPr>
          <p:nvPr/>
        </p:nvSpPr>
        <p:spPr bwMode="auto">
          <a:xfrm>
            <a:off x="1" y="8684315"/>
            <a:ext cx="2972268" cy="457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922" tIns="45461" rIns="90922" bIns="45461" anchor="b"/>
          <a:lstStyle/>
          <a:p>
            <a:r>
              <a:rPr lang="en-MY" sz="1200">
                <a:latin typeface="Calibri" pitchFamily="34" charset="0"/>
              </a:rPr>
              <a:t>RAHSIA</a:t>
            </a:r>
          </a:p>
        </p:txBody>
      </p:sp>
      <p:sp>
        <p:nvSpPr>
          <p:cNvPr id="45060" name="Header Placeholder 6"/>
          <p:cNvSpPr txBox="1">
            <a:spLocks noGrp="1"/>
          </p:cNvSpPr>
          <p:nvPr/>
        </p:nvSpPr>
        <p:spPr bwMode="auto">
          <a:xfrm>
            <a:off x="1" y="0"/>
            <a:ext cx="2972268" cy="457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922" tIns="45461" rIns="90922" bIns="45461"/>
          <a:lstStyle/>
          <a:p>
            <a:r>
              <a:rPr lang="en-MY" sz="1200">
                <a:latin typeface="Calibri" pitchFamily="34" charset="0"/>
              </a:rPr>
              <a:t>RAHSIA</a:t>
            </a:r>
          </a:p>
        </p:txBody>
      </p:sp>
      <p:sp>
        <p:nvSpPr>
          <p:cNvPr id="45061" name="Notes Placeholder 7"/>
          <p:cNvSpPr>
            <a:spLocks noGrp="1"/>
          </p:cNvSpPr>
          <p:nvPr>
            <p:ph type="body" sz="quarter" idx="12"/>
          </p:nvPr>
        </p:nvSpPr>
        <p:spPr>
          <a:xfrm>
            <a:off x="685098" y="3716822"/>
            <a:ext cx="5487805" cy="4741793"/>
          </a:xfrm>
          <a:noFill/>
          <a:ln w="9525"/>
        </p:spPr>
        <p:txBody>
          <a:bodyPr lIns="90922" tIns="45461" rIns="90922" bIns="45461"/>
          <a:lstStyle/>
          <a:p>
            <a:pPr marL="339725" indent="-339725" algn="just">
              <a:spcBef>
                <a:spcPct val="0"/>
              </a:spcBef>
              <a:buFont typeface="Calibri" pitchFamily="34" charset="0"/>
              <a:buAutoNum type="arabicPeriod"/>
            </a:pPr>
            <a:r>
              <a:rPr lang="en-US" sz="1400" smtClean="0">
                <a:latin typeface="Arial" pitchFamily="34" charset="0"/>
                <a:cs typeface="Arial" pitchFamily="34" charset="0"/>
              </a:rPr>
              <a:t>Selaras dengan usaha negara untuk menjadi negara maju yang berpendapatan tinggi, komposisi tenaga kerja mahir di Malaysia yang pada masa kini sebanyak 25.9% perlu ditingkatkan selaras dengan komposisi guna tenaga di negara  maju, misalnya Ireland sebanyak 38.9 %.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EE6D71CA-3786-4468-9AFF-C99AEC3270C2}" type="datetimeFigureOut">
              <a:rPr lang="en-US" smtClean="0"/>
              <a:pPr/>
              <a:t>12/15/2014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9AA2DC43-202C-4767-8882-AC5E117A837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jpeg"/><Relationship Id="rId10" Type="http://schemas.openxmlformats.org/officeDocument/2006/relationships/image" Target="../media/image9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23.jpe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slideLayout" Target="../slideLayouts/slideLayout7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간지"/>
          <p:cNvPicPr>
            <a:picLocks noChangeAspect="1" noChangeArrowheads="1"/>
          </p:cNvPicPr>
          <p:nvPr/>
        </p:nvPicPr>
        <p:blipFill>
          <a:blip r:embed="rId3" cstate="print"/>
          <a:srcRect t="12146" b="4143"/>
          <a:stretch>
            <a:fillRect/>
          </a:stretch>
        </p:blipFill>
        <p:spPr bwMode="auto">
          <a:xfrm>
            <a:off x="-15875" y="0"/>
            <a:ext cx="99218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Freeform 71"/>
          <p:cNvSpPr>
            <a:spLocks/>
          </p:cNvSpPr>
          <p:nvPr/>
        </p:nvSpPr>
        <p:spPr bwMode="auto">
          <a:xfrm>
            <a:off x="4429125" y="3643313"/>
            <a:ext cx="4714875" cy="3214687"/>
          </a:xfrm>
          <a:custGeom>
            <a:avLst/>
            <a:gdLst/>
            <a:ahLst/>
            <a:cxnLst>
              <a:cxn ang="0">
                <a:pos x="1230" y="2604"/>
              </a:cxn>
              <a:cxn ang="0">
                <a:pos x="1230" y="2604"/>
              </a:cxn>
              <a:cxn ang="0">
                <a:pos x="2554" y="2604"/>
              </a:cxn>
              <a:cxn ang="0">
                <a:pos x="2554" y="1540"/>
              </a:cxn>
              <a:cxn ang="0">
                <a:pos x="0" y="0"/>
              </a:cxn>
              <a:cxn ang="0">
                <a:pos x="1230" y="2604"/>
              </a:cxn>
            </a:cxnLst>
            <a:rect l="0" t="0" r="r" b="b"/>
            <a:pathLst>
              <a:path w="2554" h="2604">
                <a:moveTo>
                  <a:pt x="1230" y="2604"/>
                </a:moveTo>
                <a:lnTo>
                  <a:pt x="1230" y="2604"/>
                </a:lnTo>
                <a:lnTo>
                  <a:pt x="2554" y="2604"/>
                </a:lnTo>
                <a:lnTo>
                  <a:pt x="2554" y="1540"/>
                </a:lnTo>
                <a:lnTo>
                  <a:pt x="0" y="0"/>
                </a:lnTo>
                <a:lnTo>
                  <a:pt x="1230" y="2604"/>
                </a:lnTo>
                <a:close/>
              </a:path>
            </a:pathLst>
          </a:custGeom>
          <a:blipFill>
            <a:blip r:embed="rId4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chemeClr val="bg1"/>
              </a:solidFill>
              <a:latin typeface="Calibri"/>
              <a:cs typeface="+mn-cs"/>
            </a:endParaRPr>
          </a:p>
        </p:txBody>
      </p:sp>
      <p:sp>
        <p:nvSpPr>
          <p:cNvPr id="14" name="Freeform 70"/>
          <p:cNvSpPr>
            <a:spLocks/>
          </p:cNvSpPr>
          <p:nvPr/>
        </p:nvSpPr>
        <p:spPr bwMode="auto">
          <a:xfrm>
            <a:off x="2143125" y="3643313"/>
            <a:ext cx="4525963" cy="3214687"/>
          </a:xfrm>
          <a:custGeom>
            <a:avLst/>
            <a:gdLst/>
            <a:ahLst/>
            <a:cxnLst>
              <a:cxn ang="0">
                <a:pos x="0" y="2602"/>
              </a:cxn>
              <a:cxn ang="0">
                <a:pos x="2568" y="2602"/>
              </a:cxn>
              <a:cxn ang="0">
                <a:pos x="1338" y="0"/>
              </a:cxn>
              <a:cxn ang="0">
                <a:pos x="0" y="2602"/>
              </a:cxn>
            </a:cxnLst>
            <a:rect l="0" t="0" r="r" b="b"/>
            <a:pathLst>
              <a:path w="2568" h="2602">
                <a:moveTo>
                  <a:pt x="0" y="2602"/>
                </a:moveTo>
                <a:lnTo>
                  <a:pt x="2568" y="2602"/>
                </a:lnTo>
                <a:lnTo>
                  <a:pt x="1338" y="0"/>
                </a:lnTo>
                <a:lnTo>
                  <a:pt x="0" y="2602"/>
                </a:lnTo>
                <a:close/>
              </a:path>
            </a:pathLst>
          </a:custGeom>
          <a:blipFill>
            <a:blip r:embed="rId5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chemeClr val="bg1"/>
              </a:solidFill>
              <a:latin typeface="Calibri"/>
              <a:cs typeface="+mn-cs"/>
            </a:endParaRPr>
          </a:p>
        </p:txBody>
      </p:sp>
      <p:sp>
        <p:nvSpPr>
          <p:cNvPr id="15" name="Freeform 68"/>
          <p:cNvSpPr>
            <a:spLocks/>
          </p:cNvSpPr>
          <p:nvPr/>
        </p:nvSpPr>
        <p:spPr bwMode="auto">
          <a:xfrm>
            <a:off x="0" y="3643313"/>
            <a:ext cx="4500563" cy="3214687"/>
          </a:xfrm>
          <a:custGeom>
            <a:avLst/>
            <a:gdLst/>
            <a:ahLst/>
            <a:cxnLst>
              <a:cxn ang="0">
                <a:pos x="0" y="1562"/>
              </a:cxn>
              <a:cxn ang="0">
                <a:pos x="0" y="2604"/>
              </a:cxn>
              <a:cxn ang="0">
                <a:pos x="1272" y="2604"/>
              </a:cxn>
              <a:cxn ang="0">
                <a:pos x="2612" y="0"/>
              </a:cxn>
              <a:cxn ang="0">
                <a:pos x="0" y="1562"/>
              </a:cxn>
            </a:cxnLst>
            <a:rect l="0" t="0" r="r" b="b"/>
            <a:pathLst>
              <a:path w="2612" h="2604">
                <a:moveTo>
                  <a:pt x="0" y="1562"/>
                </a:moveTo>
                <a:lnTo>
                  <a:pt x="0" y="2604"/>
                </a:lnTo>
                <a:lnTo>
                  <a:pt x="1272" y="2604"/>
                </a:lnTo>
                <a:lnTo>
                  <a:pt x="2612" y="0"/>
                </a:lnTo>
                <a:lnTo>
                  <a:pt x="0" y="1562"/>
                </a:lnTo>
                <a:close/>
              </a:path>
            </a:pathLst>
          </a:custGeom>
          <a:blipFill>
            <a:blip r:embed="rId6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kern="0">
              <a:solidFill>
                <a:schemeClr val="bg1"/>
              </a:solidFill>
              <a:latin typeface="Calibri"/>
              <a:cs typeface="+mn-cs"/>
            </a:endParaRPr>
          </a:p>
        </p:txBody>
      </p:sp>
      <p:sp>
        <p:nvSpPr>
          <p:cNvPr id="10" name="Title 5"/>
          <p:cNvSpPr txBox="1">
            <a:spLocks/>
          </p:cNvSpPr>
          <p:nvPr/>
        </p:nvSpPr>
        <p:spPr>
          <a:xfrm>
            <a:off x="1678570" y="2151096"/>
            <a:ext cx="5536636" cy="2206598"/>
          </a:xfrm>
          <a:prstGeom prst="rect">
            <a:avLst/>
          </a:prstGeom>
          <a:effectLst/>
        </p:spPr>
        <p:txBody>
          <a:bodyPr>
            <a:normAutofit fontScale="97500"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Narrow" pitchFamily="34" charset="0"/>
                <a:ea typeface="+mj-ea"/>
                <a:cs typeface="Calibri" pitchFamily="34" charset="0"/>
              </a:rPr>
              <a:t/>
            </a:r>
            <a:br>
              <a:rPr lang="en-US" sz="2400" b="1" cap="all" dirty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Narrow" pitchFamily="34" charset="0"/>
                <a:ea typeface="+mj-ea"/>
                <a:cs typeface="Calibri" pitchFamily="34" charset="0"/>
              </a:rPr>
            </a:br>
            <a:endParaRPr lang="en-US" sz="24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Narrow" pitchFamily="34" charset="0"/>
              <a:ea typeface="+mj-ea"/>
              <a:cs typeface="Calibri" pitchFamily="34" charset="0"/>
            </a:endParaRPr>
          </a:p>
          <a:p>
            <a:pPr algn="ctr" fontAlgn="auto">
              <a:spcAft>
                <a:spcPts val="0"/>
              </a:spcAft>
              <a:defRPr/>
            </a:pPr>
            <a:r>
              <a:rPr lang="en-US" sz="2400" b="1" spc="300" dirty="0">
                <a:ln w="11430" cmpd="sng">
                  <a:solidFill>
                    <a:srgbClr val="002060"/>
                  </a:solidFill>
                  <a:prstDash val="solid"/>
                  <a:miter lim="800000"/>
                </a:ln>
                <a:solidFill>
                  <a:srgbClr val="002060"/>
                </a:solidFill>
                <a:effectLst>
                  <a:glow rad="45500">
                    <a:srgbClr val="7030A0">
                      <a:alpha val="35000"/>
                    </a:srgbClr>
                  </a:glow>
                </a:effectLst>
                <a:latin typeface="Arial Narrow" pitchFamily="34" charset="0"/>
                <a:ea typeface="+mj-ea"/>
                <a:cs typeface="Calibri" pitchFamily="34" charset="0"/>
              </a:rPr>
              <a:t>JABATAN TENAGA MANUSIA 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en-US" sz="2400" b="1" spc="300" dirty="0">
                <a:ln w="11430" cmpd="sng">
                  <a:solidFill>
                    <a:srgbClr val="002060"/>
                  </a:solidFill>
                  <a:prstDash val="solid"/>
                  <a:miter lim="800000"/>
                </a:ln>
                <a:solidFill>
                  <a:srgbClr val="002060"/>
                </a:solidFill>
                <a:effectLst>
                  <a:glow rad="45500">
                    <a:srgbClr val="7030A0">
                      <a:alpha val="35000"/>
                    </a:srgbClr>
                  </a:glow>
                </a:effectLst>
                <a:latin typeface="Arial Narrow" pitchFamily="34" charset="0"/>
                <a:ea typeface="+mj-ea"/>
                <a:cs typeface="Calibri" pitchFamily="34" charset="0"/>
              </a:rPr>
              <a:t>KEMENTERIAN SUMBER MANUSIA</a:t>
            </a:r>
            <a:endParaRPr lang="en-MY" sz="2400" b="1" spc="300" dirty="0">
              <a:ln w="11430" cmpd="sng">
                <a:solidFill>
                  <a:srgbClr val="002060"/>
                </a:solidFill>
                <a:prstDash val="solid"/>
                <a:miter lim="800000"/>
              </a:ln>
              <a:solidFill>
                <a:srgbClr val="002060"/>
              </a:solidFill>
              <a:effectLst>
                <a:glow rad="45500">
                  <a:srgbClr val="7030A0">
                    <a:alpha val="35000"/>
                  </a:srgbClr>
                </a:glow>
              </a:effectLst>
              <a:latin typeface="Corbel" pitchFamily="34" charset="0"/>
              <a:ea typeface="+mj-ea"/>
              <a:cs typeface="+mj-cs"/>
            </a:endParaRPr>
          </a:p>
        </p:txBody>
      </p:sp>
      <p:pic>
        <p:nvPicPr>
          <p:cNvPr id="2055" name="Picture 2" descr="C:\Documents and Settings\User\My Documents\azlina 2011\SPK\LOGO JTM ISO\QMS-DSM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43750" y="2428875"/>
            <a:ext cx="1584325" cy="1266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6" name="Picture 4" descr="C:\Documents and Settings\User\My Documents\azlina 2011\SPK\LOGO JTM ISO\QMS-IQNET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43750" y="3857625"/>
            <a:ext cx="1655763" cy="1223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7" name="Picture 5" descr="C:\Documents and Settings\User\My Documents\azlina 2011\SPK\LOGO JTM ISO\QMS-UKAS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43750" y="5265738"/>
            <a:ext cx="1643063" cy="1163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" name="Picture 14" descr="logo_JTM.JPG"/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3850" y="260350"/>
            <a:ext cx="1905000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9" name="Picture 5" descr="LOGOBARU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524750" y="260350"/>
            <a:ext cx="1398588" cy="947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4"/>
          <p:cNvSpPr txBox="1">
            <a:spLocks noChangeArrowheads="1"/>
          </p:cNvSpPr>
          <p:nvPr/>
        </p:nvSpPr>
        <p:spPr>
          <a:xfrm>
            <a:off x="609600" y="1295400"/>
            <a:ext cx="7772400" cy="990600"/>
          </a:xfrm>
          <a:prstGeom prst="rect">
            <a:avLst/>
          </a:prstGeom>
        </p:spPr>
        <p:txBody>
          <a:bodyPr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3200" b="1" kern="0" spc="50" dirty="0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ea typeface="+mj-ea"/>
                <a:cs typeface="+mj-cs"/>
              </a:rPr>
              <a:t>NET-WORKING </a:t>
            </a:r>
            <a:r>
              <a:rPr lang="en-US" sz="3200" b="1" kern="0" spc="50" dirty="0" err="1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ea typeface="+mj-ea"/>
                <a:cs typeface="+mj-cs"/>
              </a:rPr>
              <a:t>dan</a:t>
            </a:r>
            <a:r>
              <a:rPr lang="en-US" sz="3200" b="1" kern="0" spc="50" dirty="0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ea typeface="+mj-ea"/>
                <a:cs typeface="+mj-cs"/>
              </a:rPr>
              <a:t> JARINGAN INDUSTRI</a:t>
            </a:r>
            <a:endParaRPr lang="en-US" sz="3200" b="1" kern="0" spc="50" dirty="0">
              <a:ln w="11430"/>
              <a:gradFill>
                <a:gsLst>
                  <a:gs pos="17000">
                    <a:srgbClr val="002060"/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+mn-lt"/>
              <a:ea typeface="+mj-ea"/>
              <a:cs typeface="+mj-cs"/>
            </a:endParaRPr>
          </a:p>
          <a:p>
            <a:pPr algn="ctr">
              <a:defRPr/>
            </a:pPr>
            <a:r>
              <a:rPr lang="en-US" sz="3200" b="1" kern="0" spc="50" dirty="0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  <a:t>16 </a:t>
            </a:r>
            <a:r>
              <a:rPr lang="en-US" sz="3200" b="1" kern="0" spc="50" dirty="0" err="1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  <a:t>Disember</a:t>
            </a:r>
            <a:r>
              <a:rPr lang="en-US" sz="3200" b="1" kern="0" spc="50" dirty="0" smtClean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  <a:t> </a:t>
            </a:r>
            <a:r>
              <a:rPr lang="en-US" sz="3200" b="1" kern="0" spc="50" dirty="0">
                <a:ln w="11430"/>
                <a:gradFill>
                  <a:gsLst>
                    <a:gs pos="17000">
                      <a:srgbClr val="002060"/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  <a:t>2014</a:t>
            </a:r>
            <a:r>
              <a:rPr lang="en-US" sz="3200" b="1" kern="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  <a:t/>
            </a:r>
            <a:br>
              <a:rPr lang="en-US" sz="3200" b="1" kern="0" spc="50" dirty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  <a:ea typeface="+mj-ea"/>
                <a:cs typeface="+mj-cs"/>
              </a:rPr>
            </a:br>
            <a:endParaRPr lang="en-US" sz="3200" b="1" kern="0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+mn-lt"/>
              <a:ea typeface="+mj-ea"/>
              <a:cs typeface="+mj-cs"/>
            </a:endParaRPr>
          </a:p>
        </p:txBody>
      </p:sp>
      <p:sp>
        <p:nvSpPr>
          <p:cNvPr id="2061" name="TextBox 1"/>
          <p:cNvSpPr txBox="1">
            <a:spLocks noChangeArrowheads="1"/>
          </p:cNvSpPr>
          <p:nvPr/>
        </p:nvSpPr>
        <p:spPr bwMode="auto">
          <a:xfrm>
            <a:off x="7467600" y="1211263"/>
            <a:ext cx="1512888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en-US" sz="600">
                <a:solidFill>
                  <a:srgbClr val="002060"/>
                </a:solidFill>
              </a:rPr>
              <a:t>KEMENTERIAN SUMBER MANUSIA</a:t>
            </a:r>
            <a:endParaRPr lang="en-MY" altLang="en-US" sz="60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52400" y="5791200"/>
            <a:ext cx="26670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Norman </a:t>
            </a:r>
            <a:r>
              <a:rPr lang="en-US" dirty="0" err="1" smtClean="0"/>
              <a:t>Kusin</a:t>
            </a:r>
            <a:endParaRPr lang="en-US" dirty="0" smtClean="0"/>
          </a:p>
          <a:p>
            <a:r>
              <a:rPr lang="en-US" dirty="0" smtClean="0"/>
              <a:t>Seminar </a:t>
            </a:r>
            <a:r>
              <a:rPr lang="en-US" dirty="0" err="1" smtClean="0"/>
              <a:t>Pengajar</a:t>
            </a:r>
            <a:r>
              <a:rPr lang="en-US" dirty="0" smtClean="0"/>
              <a:t> ILJTM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9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9325046B-3B20-4D85-900C-D092038639F3}" type="datetime3">
              <a:rPr lang="en-US"/>
              <a:pPr>
                <a:defRPr/>
              </a:pPr>
              <a:t>15 December 2014</a:t>
            </a:fld>
            <a:endParaRPr lang="en-US"/>
          </a:p>
        </p:txBody>
      </p:sp>
      <p:graphicFrame>
        <p:nvGraphicFramePr>
          <p:cNvPr id="10" name="Diagram 9"/>
          <p:cNvGraphicFramePr/>
          <p:nvPr/>
        </p:nvGraphicFramePr>
        <p:xfrm>
          <a:off x="71546" y="-142900"/>
          <a:ext cx="8644337" cy="9286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772506" y="0"/>
            <a:ext cx="7924409" cy="685800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MY" sz="2400" b="1" dirty="0">
                <a:solidFill>
                  <a:schemeClr val="tx1"/>
                </a:solidFill>
                <a:latin typeface="Cambria" pitchFamily="18" charset="0"/>
              </a:rPr>
              <a:t>2.1  PERBANDINGAN GUNA TENAGA MENGIKUT KUMPULAN PEKERJAAN </a:t>
            </a:r>
            <a:endParaRPr lang="en-MY" sz="2400" b="1" i="1" dirty="0">
              <a:solidFill>
                <a:srgbClr val="0000FF"/>
              </a:solidFill>
              <a:latin typeface="Cambria" pitchFamily="18" charset="0"/>
            </a:endParaRPr>
          </a:p>
        </p:txBody>
      </p:sp>
      <p:sp>
        <p:nvSpPr>
          <p:cNvPr id="22533" name="Slide Number Placeholder 13"/>
          <p:cNvSpPr txBox="1">
            <a:spLocks noGrp="1"/>
          </p:cNvSpPr>
          <p:nvPr/>
        </p:nvSpPr>
        <p:spPr bwMode="auto">
          <a:xfrm>
            <a:off x="7009716" y="6564314"/>
            <a:ext cx="2134284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53595E72-1735-447E-AB92-9984849B6D1F}" type="slidenum">
              <a:rPr lang="en-MY" sz="1400" b="1">
                <a:solidFill>
                  <a:schemeClr val="bg1"/>
                </a:solidFill>
                <a:latin typeface="Calibri" pitchFamily="34" charset="0"/>
              </a:rPr>
              <a:pPr algn="r"/>
              <a:t>10</a:t>
            </a:fld>
            <a:endParaRPr lang="en-MY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2534" name="Rectangle 25"/>
          <p:cNvSpPr>
            <a:spLocks noChangeArrowheads="1"/>
          </p:cNvSpPr>
          <p:nvPr/>
        </p:nvSpPr>
        <p:spPr bwMode="auto">
          <a:xfrm>
            <a:off x="285843" y="857250"/>
            <a:ext cx="864414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MY" b="1" i="1">
                <a:latin typeface="Cambria" pitchFamily="18" charset="0"/>
              </a:rPr>
              <a:t>Untuk menjadi negara maju… komposisi tenaga kerja mahir perlu ditingkatkan</a:t>
            </a:r>
            <a:endParaRPr lang="en-MY" i="1">
              <a:latin typeface="Calibri" pitchFamily="34" charset="0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>
            <a:off x="1451197" y="1571625"/>
            <a:ext cx="4683405" cy="158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536" name="TextBox 17"/>
          <p:cNvSpPr txBox="1">
            <a:spLocks noChangeArrowheads="1"/>
          </p:cNvSpPr>
          <p:nvPr/>
        </p:nvSpPr>
        <p:spPr bwMode="auto">
          <a:xfrm>
            <a:off x="1405755" y="1219200"/>
            <a:ext cx="569924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600">
                <a:latin typeface="Calibri" pitchFamily="34" charset="0"/>
              </a:rPr>
              <a:t>Guna Tenaga Mengikut Kumpulan Pekerjaan Utama (%), 2008</a:t>
            </a:r>
            <a:endParaRPr lang="en-MY" sz="1600">
              <a:latin typeface="Calibri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7572604" y="2286001"/>
            <a:ext cx="1499570" cy="428625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i="1" err="1">
                <a:solidFill>
                  <a:schemeClr val="tx1"/>
                </a:solidFill>
              </a:rPr>
              <a:t>Pekerja</a:t>
            </a:r>
            <a:r>
              <a:rPr lang="en-US" sz="1600" i="1">
                <a:solidFill>
                  <a:schemeClr val="tx1"/>
                </a:solidFill>
              </a:rPr>
              <a:t> </a:t>
            </a:r>
            <a:r>
              <a:rPr lang="en-US" sz="1600" i="1" err="1">
                <a:solidFill>
                  <a:schemeClr val="tx1"/>
                </a:solidFill>
              </a:rPr>
              <a:t>mahir</a:t>
            </a:r>
            <a:endParaRPr lang="en-US" sz="1600" i="1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644432" y="3500438"/>
            <a:ext cx="1427742" cy="571500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i="1" err="1">
                <a:solidFill>
                  <a:schemeClr val="tx1"/>
                </a:solidFill>
              </a:rPr>
              <a:t>Pekerja</a:t>
            </a:r>
            <a:r>
              <a:rPr lang="en-US" sz="1600" i="1">
                <a:solidFill>
                  <a:schemeClr val="tx1"/>
                </a:solidFill>
              </a:rPr>
              <a:t> </a:t>
            </a:r>
            <a:r>
              <a:rPr lang="en-US" sz="1600" i="1" err="1">
                <a:solidFill>
                  <a:schemeClr val="tx1"/>
                </a:solidFill>
              </a:rPr>
              <a:t>separa</a:t>
            </a:r>
            <a:r>
              <a:rPr lang="en-US" sz="1600" i="1">
                <a:solidFill>
                  <a:schemeClr val="tx1"/>
                </a:solidFill>
              </a:rPr>
              <a:t> </a:t>
            </a:r>
            <a:r>
              <a:rPr lang="en-US" sz="1600" i="1" err="1">
                <a:solidFill>
                  <a:schemeClr val="tx1"/>
                </a:solidFill>
              </a:rPr>
              <a:t>mahir</a:t>
            </a:r>
            <a:endParaRPr lang="en-US" sz="1600" i="1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7644432" y="4214814"/>
            <a:ext cx="1427742" cy="642937"/>
          </a:xfrm>
          <a:prstGeom prst="roundRect">
            <a:avLst/>
          </a:prstGeom>
          <a:noFill/>
          <a:ln w="3175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i="1" err="1">
                <a:solidFill>
                  <a:schemeClr val="tx1"/>
                </a:solidFill>
              </a:rPr>
              <a:t>Pekerja</a:t>
            </a:r>
            <a:r>
              <a:rPr lang="en-US" sz="1600" i="1">
                <a:solidFill>
                  <a:schemeClr val="tx1"/>
                </a:solidFill>
              </a:rPr>
              <a:t> </a:t>
            </a:r>
            <a:r>
              <a:rPr lang="en-US" sz="1600" i="1" err="1">
                <a:solidFill>
                  <a:schemeClr val="tx1"/>
                </a:solidFill>
              </a:rPr>
              <a:t>tidak</a:t>
            </a:r>
            <a:r>
              <a:rPr lang="en-US" sz="1600" i="1">
                <a:solidFill>
                  <a:schemeClr val="tx1"/>
                </a:solidFill>
              </a:rPr>
              <a:t> </a:t>
            </a:r>
            <a:r>
              <a:rPr lang="en-US" sz="1600" i="1" err="1">
                <a:solidFill>
                  <a:schemeClr val="tx1"/>
                </a:solidFill>
              </a:rPr>
              <a:t>mahir</a:t>
            </a:r>
            <a:endParaRPr lang="en-US" sz="1600" i="1">
              <a:solidFill>
                <a:schemeClr val="tx1"/>
              </a:solidFill>
            </a:endParaRPr>
          </a:p>
        </p:txBody>
      </p:sp>
      <p:graphicFrame>
        <p:nvGraphicFramePr>
          <p:cNvPr id="20" name="Chart 19"/>
          <p:cNvGraphicFramePr>
            <a:graphicFrameLocks/>
          </p:cNvGraphicFramePr>
          <p:nvPr/>
        </p:nvGraphicFramePr>
        <p:xfrm>
          <a:off x="284710" y="1609712"/>
          <a:ext cx="7167087" cy="4857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4" name="Right Brace 23"/>
          <p:cNvSpPr/>
          <p:nvPr/>
        </p:nvSpPr>
        <p:spPr>
          <a:xfrm>
            <a:off x="7286763" y="1785938"/>
            <a:ext cx="214015" cy="1428750"/>
          </a:xfrm>
          <a:prstGeom prst="rightBrace">
            <a:avLst/>
          </a:prstGeom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MY"/>
          </a:p>
        </p:txBody>
      </p:sp>
      <p:sp>
        <p:nvSpPr>
          <p:cNvPr id="30" name="Right Brace 29"/>
          <p:cNvSpPr/>
          <p:nvPr/>
        </p:nvSpPr>
        <p:spPr>
          <a:xfrm>
            <a:off x="7286763" y="3357564"/>
            <a:ext cx="214015" cy="928687"/>
          </a:xfrm>
          <a:prstGeom prst="rightBrace">
            <a:avLst/>
          </a:prstGeom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MY"/>
          </a:p>
        </p:txBody>
      </p:sp>
      <p:sp>
        <p:nvSpPr>
          <p:cNvPr id="31" name="Right Brace 30"/>
          <p:cNvSpPr/>
          <p:nvPr/>
        </p:nvSpPr>
        <p:spPr>
          <a:xfrm>
            <a:off x="7286763" y="4357688"/>
            <a:ext cx="214015" cy="285750"/>
          </a:xfrm>
          <a:prstGeom prst="rightBrace">
            <a:avLst/>
          </a:prstGeom>
          <a:ln>
            <a:solidFill>
              <a:srgbClr val="8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MY"/>
          </a:p>
        </p:txBody>
      </p:sp>
      <p:sp>
        <p:nvSpPr>
          <p:cNvPr id="22544" name="Text Box 15"/>
          <p:cNvSpPr txBox="1">
            <a:spLocks noChangeArrowheads="1"/>
          </p:cNvSpPr>
          <p:nvPr/>
        </p:nvSpPr>
        <p:spPr bwMode="auto">
          <a:xfrm>
            <a:off x="1523023" y="6553201"/>
            <a:ext cx="103265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/>
              <a:t>SUMBER : EPU</a:t>
            </a:r>
          </a:p>
        </p:txBody>
      </p:sp>
      <p:sp>
        <p:nvSpPr>
          <p:cNvPr id="21" name="Freeform 20"/>
          <p:cNvSpPr/>
          <p:nvPr/>
        </p:nvSpPr>
        <p:spPr>
          <a:xfrm>
            <a:off x="502920" y="1325605"/>
            <a:ext cx="1144407" cy="1280435"/>
          </a:xfrm>
          <a:custGeom>
            <a:avLst/>
            <a:gdLst>
              <a:gd name="connsiteX0" fmla="*/ 45720 w 1144407"/>
              <a:gd name="connsiteY0" fmla="*/ 335555 h 1280435"/>
              <a:gd name="connsiteX1" fmla="*/ 121920 w 1144407"/>
              <a:gd name="connsiteY1" fmla="*/ 198395 h 1280435"/>
              <a:gd name="connsiteX2" fmla="*/ 701040 w 1144407"/>
              <a:gd name="connsiteY2" fmla="*/ 167915 h 1280435"/>
              <a:gd name="connsiteX3" fmla="*/ 792480 w 1144407"/>
              <a:gd name="connsiteY3" fmla="*/ 213635 h 1280435"/>
              <a:gd name="connsiteX4" fmla="*/ 883920 w 1144407"/>
              <a:gd name="connsiteY4" fmla="*/ 259355 h 1280435"/>
              <a:gd name="connsiteX5" fmla="*/ 1005840 w 1144407"/>
              <a:gd name="connsiteY5" fmla="*/ 366035 h 1280435"/>
              <a:gd name="connsiteX6" fmla="*/ 1021080 w 1144407"/>
              <a:gd name="connsiteY6" fmla="*/ 411755 h 1280435"/>
              <a:gd name="connsiteX7" fmla="*/ 1066800 w 1144407"/>
              <a:gd name="connsiteY7" fmla="*/ 457475 h 1280435"/>
              <a:gd name="connsiteX8" fmla="*/ 1112520 w 1144407"/>
              <a:gd name="connsiteY8" fmla="*/ 548915 h 1280435"/>
              <a:gd name="connsiteX9" fmla="*/ 1112520 w 1144407"/>
              <a:gd name="connsiteY9" fmla="*/ 1128035 h 1280435"/>
              <a:gd name="connsiteX10" fmla="*/ 1082040 w 1144407"/>
              <a:gd name="connsiteY10" fmla="*/ 1173755 h 1280435"/>
              <a:gd name="connsiteX11" fmla="*/ 990600 w 1144407"/>
              <a:gd name="connsiteY11" fmla="*/ 1249955 h 1280435"/>
              <a:gd name="connsiteX12" fmla="*/ 899160 w 1144407"/>
              <a:gd name="connsiteY12" fmla="*/ 1280435 h 1280435"/>
              <a:gd name="connsiteX13" fmla="*/ 320040 w 1144407"/>
              <a:gd name="connsiteY13" fmla="*/ 1265195 h 1280435"/>
              <a:gd name="connsiteX14" fmla="*/ 228600 w 1144407"/>
              <a:gd name="connsiteY14" fmla="*/ 1204235 h 1280435"/>
              <a:gd name="connsiteX15" fmla="*/ 198120 w 1144407"/>
              <a:gd name="connsiteY15" fmla="*/ 1158515 h 1280435"/>
              <a:gd name="connsiteX16" fmla="*/ 152400 w 1144407"/>
              <a:gd name="connsiteY16" fmla="*/ 1143275 h 1280435"/>
              <a:gd name="connsiteX17" fmla="*/ 91440 w 1144407"/>
              <a:gd name="connsiteY17" fmla="*/ 1051835 h 1280435"/>
              <a:gd name="connsiteX18" fmla="*/ 60960 w 1144407"/>
              <a:gd name="connsiteY18" fmla="*/ 960395 h 1280435"/>
              <a:gd name="connsiteX19" fmla="*/ 45720 w 1144407"/>
              <a:gd name="connsiteY19" fmla="*/ 884195 h 1280435"/>
              <a:gd name="connsiteX20" fmla="*/ 15240 w 1144407"/>
              <a:gd name="connsiteY20" fmla="*/ 792755 h 1280435"/>
              <a:gd name="connsiteX21" fmla="*/ 0 w 1144407"/>
              <a:gd name="connsiteY21" fmla="*/ 731795 h 1280435"/>
              <a:gd name="connsiteX22" fmla="*/ 15240 w 1144407"/>
              <a:gd name="connsiteY22" fmla="*/ 381275 h 1280435"/>
              <a:gd name="connsiteX23" fmla="*/ 45720 w 1144407"/>
              <a:gd name="connsiteY23" fmla="*/ 335555 h 1280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44407" h="1280435">
                <a:moveTo>
                  <a:pt x="45720" y="335555"/>
                </a:moveTo>
                <a:cubicBezTo>
                  <a:pt x="63500" y="305075"/>
                  <a:pt x="95567" y="243572"/>
                  <a:pt x="121920" y="198395"/>
                </a:cubicBezTo>
                <a:cubicBezTo>
                  <a:pt x="237650" y="0"/>
                  <a:pt x="296227" y="156670"/>
                  <a:pt x="701040" y="167915"/>
                </a:cubicBezTo>
                <a:cubicBezTo>
                  <a:pt x="832067" y="255266"/>
                  <a:pt x="666287" y="150539"/>
                  <a:pt x="792480" y="213635"/>
                </a:cubicBezTo>
                <a:cubicBezTo>
                  <a:pt x="910653" y="272721"/>
                  <a:pt x="769002" y="221049"/>
                  <a:pt x="883920" y="259355"/>
                </a:cubicBezTo>
                <a:cubicBezTo>
                  <a:pt x="952500" y="305075"/>
                  <a:pt x="974090" y="302535"/>
                  <a:pt x="1005840" y="366035"/>
                </a:cubicBezTo>
                <a:cubicBezTo>
                  <a:pt x="1013024" y="380403"/>
                  <a:pt x="1012169" y="398389"/>
                  <a:pt x="1021080" y="411755"/>
                </a:cubicBezTo>
                <a:cubicBezTo>
                  <a:pt x="1033035" y="429688"/>
                  <a:pt x="1053002" y="440918"/>
                  <a:pt x="1066800" y="457475"/>
                </a:cubicBezTo>
                <a:cubicBezTo>
                  <a:pt x="1099626" y="496866"/>
                  <a:pt x="1097246" y="503093"/>
                  <a:pt x="1112520" y="548915"/>
                </a:cubicBezTo>
                <a:cubicBezTo>
                  <a:pt x="1136605" y="789764"/>
                  <a:pt x="1144407" y="798539"/>
                  <a:pt x="1112520" y="1128035"/>
                </a:cubicBezTo>
                <a:cubicBezTo>
                  <a:pt x="1110756" y="1146266"/>
                  <a:pt x="1093766" y="1159684"/>
                  <a:pt x="1082040" y="1173755"/>
                </a:cubicBezTo>
                <a:cubicBezTo>
                  <a:pt x="1060929" y="1199089"/>
                  <a:pt x="1022333" y="1235851"/>
                  <a:pt x="990600" y="1249955"/>
                </a:cubicBezTo>
                <a:cubicBezTo>
                  <a:pt x="961240" y="1263004"/>
                  <a:pt x="899160" y="1280435"/>
                  <a:pt x="899160" y="1280435"/>
                </a:cubicBezTo>
                <a:cubicBezTo>
                  <a:pt x="706120" y="1275355"/>
                  <a:pt x="512917" y="1274604"/>
                  <a:pt x="320040" y="1265195"/>
                </a:cubicBezTo>
                <a:cubicBezTo>
                  <a:pt x="277619" y="1263126"/>
                  <a:pt x="253821" y="1234500"/>
                  <a:pt x="228600" y="1204235"/>
                </a:cubicBezTo>
                <a:cubicBezTo>
                  <a:pt x="216874" y="1190164"/>
                  <a:pt x="212423" y="1169957"/>
                  <a:pt x="198120" y="1158515"/>
                </a:cubicBezTo>
                <a:cubicBezTo>
                  <a:pt x="185576" y="1148480"/>
                  <a:pt x="167640" y="1148355"/>
                  <a:pt x="152400" y="1143275"/>
                </a:cubicBezTo>
                <a:cubicBezTo>
                  <a:pt x="132080" y="1112795"/>
                  <a:pt x="103024" y="1086588"/>
                  <a:pt x="91440" y="1051835"/>
                </a:cubicBezTo>
                <a:lnTo>
                  <a:pt x="60960" y="960395"/>
                </a:lnTo>
                <a:cubicBezTo>
                  <a:pt x="52769" y="935821"/>
                  <a:pt x="52536" y="909185"/>
                  <a:pt x="45720" y="884195"/>
                </a:cubicBezTo>
                <a:cubicBezTo>
                  <a:pt x="37266" y="853198"/>
                  <a:pt x="23032" y="823924"/>
                  <a:pt x="15240" y="792755"/>
                </a:cubicBezTo>
                <a:lnTo>
                  <a:pt x="0" y="731795"/>
                </a:lnTo>
                <a:cubicBezTo>
                  <a:pt x="5080" y="614955"/>
                  <a:pt x="1835" y="497455"/>
                  <a:pt x="15240" y="381275"/>
                </a:cubicBezTo>
                <a:cubicBezTo>
                  <a:pt x="17339" y="363080"/>
                  <a:pt x="27940" y="366035"/>
                  <a:pt x="45720" y="335555"/>
                </a:cubicBezTo>
                <a:close/>
              </a:path>
            </a:pathLst>
          </a:cu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21"/>
          <p:cNvSpPr/>
          <p:nvPr/>
        </p:nvSpPr>
        <p:spPr>
          <a:xfrm>
            <a:off x="6111240" y="1524000"/>
            <a:ext cx="1430567" cy="1875424"/>
          </a:xfrm>
          <a:custGeom>
            <a:avLst/>
            <a:gdLst>
              <a:gd name="connsiteX0" fmla="*/ 167640 w 1430567"/>
              <a:gd name="connsiteY0" fmla="*/ 152400 h 1875424"/>
              <a:gd name="connsiteX1" fmla="*/ 289560 w 1430567"/>
              <a:gd name="connsiteY1" fmla="*/ 45720 h 1875424"/>
              <a:gd name="connsiteX2" fmla="*/ 381000 w 1430567"/>
              <a:gd name="connsiteY2" fmla="*/ 15240 h 1875424"/>
              <a:gd name="connsiteX3" fmla="*/ 426720 w 1430567"/>
              <a:gd name="connsiteY3" fmla="*/ 0 h 1875424"/>
              <a:gd name="connsiteX4" fmla="*/ 944880 w 1430567"/>
              <a:gd name="connsiteY4" fmla="*/ 15240 h 1875424"/>
              <a:gd name="connsiteX5" fmla="*/ 1082040 w 1430567"/>
              <a:gd name="connsiteY5" fmla="*/ 91440 h 1875424"/>
              <a:gd name="connsiteX6" fmla="*/ 1127760 w 1430567"/>
              <a:gd name="connsiteY6" fmla="*/ 121920 h 1875424"/>
              <a:gd name="connsiteX7" fmla="*/ 1158240 w 1430567"/>
              <a:gd name="connsiteY7" fmla="*/ 167640 h 1875424"/>
              <a:gd name="connsiteX8" fmla="*/ 1203960 w 1430567"/>
              <a:gd name="connsiteY8" fmla="*/ 182880 h 1875424"/>
              <a:gd name="connsiteX9" fmla="*/ 1234440 w 1430567"/>
              <a:gd name="connsiteY9" fmla="*/ 274320 h 1875424"/>
              <a:gd name="connsiteX10" fmla="*/ 1310640 w 1430567"/>
              <a:gd name="connsiteY10" fmla="*/ 365760 h 1875424"/>
              <a:gd name="connsiteX11" fmla="*/ 1341120 w 1430567"/>
              <a:gd name="connsiteY11" fmla="*/ 502920 h 1875424"/>
              <a:gd name="connsiteX12" fmla="*/ 1371600 w 1430567"/>
              <a:gd name="connsiteY12" fmla="*/ 594360 h 1875424"/>
              <a:gd name="connsiteX13" fmla="*/ 1386840 w 1430567"/>
              <a:gd name="connsiteY13" fmla="*/ 655320 h 1875424"/>
              <a:gd name="connsiteX14" fmla="*/ 1417320 w 1430567"/>
              <a:gd name="connsiteY14" fmla="*/ 762000 h 1875424"/>
              <a:gd name="connsiteX15" fmla="*/ 1402080 w 1430567"/>
              <a:gd name="connsiteY15" fmla="*/ 1143000 h 1875424"/>
              <a:gd name="connsiteX16" fmla="*/ 1371600 w 1430567"/>
              <a:gd name="connsiteY16" fmla="*/ 1234440 h 1875424"/>
              <a:gd name="connsiteX17" fmla="*/ 1356360 w 1430567"/>
              <a:gd name="connsiteY17" fmla="*/ 1280160 h 1875424"/>
              <a:gd name="connsiteX18" fmla="*/ 1341120 w 1430567"/>
              <a:gd name="connsiteY18" fmla="*/ 1569720 h 1875424"/>
              <a:gd name="connsiteX19" fmla="*/ 1264920 w 1430567"/>
              <a:gd name="connsiteY19" fmla="*/ 1706880 h 1875424"/>
              <a:gd name="connsiteX20" fmla="*/ 1234440 w 1430567"/>
              <a:gd name="connsiteY20" fmla="*/ 1752600 h 1875424"/>
              <a:gd name="connsiteX21" fmla="*/ 1188720 w 1430567"/>
              <a:gd name="connsiteY21" fmla="*/ 1767840 h 1875424"/>
              <a:gd name="connsiteX22" fmla="*/ 1127760 w 1430567"/>
              <a:gd name="connsiteY22" fmla="*/ 1798320 h 1875424"/>
              <a:gd name="connsiteX23" fmla="*/ 853440 w 1430567"/>
              <a:gd name="connsiteY23" fmla="*/ 1828800 h 1875424"/>
              <a:gd name="connsiteX24" fmla="*/ 762000 w 1430567"/>
              <a:gd name="connsiteY24" fmla="*/ 1859280 h 1875424"/>
              <a:gd name="connsiteX25" fmla="*/ 609600 w 1430567"/>
              <a:gd name="connsiteY25" fmla="*/ 1844040 h 1875424"/>
              <a:gd name="connsiteX26" fmla="*/ 441960 w 1430567"/>
              <a:gd name="connsiteY26" fmla="*/ 1813560 h 1875424"/>
              <a:gd name="connsiteX27" fmla="*/ 320040 w 1430567"/>
              <a:gd name="connsiteY27" fmla="*/ 1798320 h 1875424"/>
              <a:gd name="connsiteX28" fmla="*/ 228600 w 1430567"/>
              <a:gd name="connsiteY28" fmla="*/ 1783080 h 1875424"/>
              <a:gd name="connsiteX29" fmla="*/ 182880 w 1430567"/>
              <a:gd name="connsiteY29" fmla="*/ 1752600 h 1875424"/>
              <a:gd name="connsiteX30" fmla="*/ 137160 w 1430567"/>
              <a:gd name="connsiteY30" fmla="*/ 1600200 h 1875424"/>
              <a:gd name="connsiteX31" fmla="*/ 91440 w 1430567"/>
              <a:gd name="connsiteY31" fmla="*/ 1463040 h 1875424"/>
              <a:gd name="connsiteX32" fmla="*/ 60960 w 1430567"/>
              <a:gd name="connsiteY32" fmla="*/ 1417320 h 1875424"/>
              <a:gd name="connsiteX33" fmla="*/ 45720 w 1430567"/>
              <a:gd name="connsiteY33" fmla="*/ 1371600 h 1875424"/>
              <a:gd name="connsiteX34" fmla="*/ 30480 w 1430567"/>
              <a:gd name="connsiteY34" fmla="*/ 1066800 h 1875424"/>
              <a:gd name="connsiteX35" fmla="*/ 45720 w 1430567"/>
              <a:gd name="connsiteY35" fmla="*/ 838200 h 1875424"/>
              <a:gd name="connsiteX36" fmla="*/ 30480 w 1430567"/>
              <a:gd name="connsiteY36" fmla="*/ 762000 h 1875424"/>
              <a:gd name="connsiteX37" fmla="*/ 0 w 1430567"/>
              <a:gd name="connsiteY37" fmla="*/ 670560 h 1875424"/>
              <a:gd name="connsiteX38" fmla="*/ 15240 w 1430567"/>
              <a:gd name="connsiteY38" fmla="*/ 472440 h 1875424"/>
              <a:gd name="connsiteX39" fmla="*/ 60960 w 1430567"/>
              <a:gd name="connsiteY39" fmla="*/ 381000 h 1875424"/>
              <a:gd name="connsiteX40" fmla="*/ 76200 w 1430567"/>
              <a:gd name="connsiteY40" fmla="*/ 335280 h 1875424"/>
              <a:gd name="connsiteX41" fmla="*/ 91440 w 1430567"/>
              <a:gd name="connsiteY41" fmla="*/ 243840 h 1875424"/>
              <a:gd name="connsiteX42" fmla="*/ 121920 w 1430567"/>
              <a:gd name="connsiteY42" fmla="*/ 198120 h 1875424"/>
              <a:gd name="connsiteX43" fmla="*/ 167640 w 1430567"/>
              <a:gd name="connsiteY43" fmla="*/ 152400 h 1875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430567" h="1875424">
                <a:moveTo>
                  <a:pt x="167640" y="152400"/>
                </a:moveTo>
                <a:cubicBezTo>
                  <a:pt x="195580" y="127000"/>
                  <a:pt x="244135" y="74922"/>
                  <a:pt x="289560" y="45720"/>
                </a:cubicBezTo>
                <a:cubicBezTo>
                  <a:pt x="316586" y="28346"/>
                  <a:pt x="350520" y="25400"/>
                  <a:pt x="381000" y="15240"/>
                </a:cubicBezTo>
                <a:lnTo>
                  <a:pt x="426720" y="0"/>
                </a:lnTo>
                <a:cubicBezTo>
                  <a:pt x="599440" y="5080"/>
                  <a:pt x="772337" y="5913"/>
                  <a:pt x="944880" y="15240"/>
                </a:cubicBezTo>
                <a:cubicBezTo>
                  <a:pt x="988667" y="17607"/>
                  <a:pt x="1060891" y="77340"/>
                  <a:pt x="1082040" y="91440"/>
                </a:cubicBezTo>
                <a:lnTo>
                  <a:pt x="1127760" y="121920"/>
                </a:lnTo>
                <a:cubicBezTo>
                  <a:pt x="1137920" y="137160"/>
                  <a:pt x="1143937" y="156198"/>
                  <a:pt x="1158240" y="167640"/>
                </a:cubicBezTo>
                <a:cubicBezTo>
                  <a:pt x="1170784" y="177675"/>
                  <a:pt x="1194623" y="169808"/>
                  <a:pt x="1203960" y="182880"/>
                </a:cubicBezTo>
                <a:cubicBezTo>
                  <a:pt x="1222634" y="209024"/>
                  <a:pt x="1224280" y="243840"/>
                  <a:pt x="1234440" y="274320"/>
                </a:cubicBezTo>
                <a:cubicBezTo>
                  <a:pt x="1245049" y="306146"/>
                  <a:pt x="1289419" y="344539"/>
                  <a:pt x="1310640" y="365760"/>
                </a:cubicBezTo>
                <a:cubicBezTo>
                  <a:pt x="1319341" y="409265"/>
                  <a:pt x="1328207" y="459875"/>
                  <a:pt x="1341120" y="502920"/>
                </a:cubicBezTo>
                <a:cubicBezTo>
                  <a:pt x="1350352" y="533694"/>
                  <a:pt x="1361440" y="563880"/>
                  <a:pt x="1371600" y="594360"/>
                </a:cubicBezTo>
                <a:cubicBezTo>
                  <a:pt x="1378224" y="614231"/>
                  <a:pt x="1381086" y="635181"/>
                  <a:pt x="1386840" y="655320"/>
                </a:cubicBezTo>
                <a:cubicBezTo>
                  <a:pt x="1430567" y="808365"/>
                  <a:pt x="1369677" y="571429"/>
                  <a:pt x="1417320" y="762000"/>
                </a:cubicBezTo>
                <a:cubicBezTo>
                  <a:pt x="1412240" y="889000"/>
                  <a:pt x="1414323" y="1016489"/>
                  <a:pt x="1402080" y="1143000"/>
                </a:cubicBezTo>
                <a:cubicBezTo>
                  <a:pt x="1398985" y="1174979"/>
                  <a:pt x="1381760" y="1203960"/>
                  <a:pt x="1371600" y="1234440"/>
                </a:cubicBezTo>
                <a:lnTo>
                  <a:pt x="1356360" y="1280160"/>
                </a:lnTo>
                <a:cubicBezTo>
                  <a:pt x="1351280" y="1376680"/>
                  <a:pt x="1349871" y="1473463"/>
                  <a:pt x="1341120" y="1569720"/>
                </a:cubicBezTo>
                <a:cubicBezTo>
                  <a:pt x="1336885" y="1616309"/>
                  <a:pt x="1283281" y="1679339"/>
                  <a:pt x="1264920" y="1706880"/>
                </a:cubicBezTo>
                <a:lnTo>
                  <a:pt x="1234440" y="1752600"/>
                </a:lnTo>
                <a:cubicBezTo>
                  <a:pt x="1225529" y="1765966"/>
                  <a:pt x="1203485" y="1761512"/>
                  <a:pt x="1188720" y="1767840"/>
                </a:cubicBezTo>
                <a:cubicBezTo>
                  <a:pt x="1167838" y="1776789"/>
                  <a:pt x="1149032" y="1790343"/>
                  <a:pt x="1127760" y="1798320"/>
                </a:cubicBezTo>
                <a:cubicBezTo>
                  <a:pt x="1051212" y="1827026"/>
                  <a:pt x="905285" y="1825097"/>
                  <a:pt x="853440" y="1828800"/>
                </a:cubicBezTo>
                <a:lnTo>
                  <a:pt x="762000" y="1859280"/>
                </a:lnTo>
                <a:cubicBezTo>
                  <a:pt x="713567" y="1875424"/>
                  <a:pt x="660259" y="1850372"/>
                  <a:pt x="609600" y="1844040"/>
                </a:cubicBezTo>
                <a:cubicBezTo>
                  <a:pt x="458320" y="1825130"/>
                  <a:pt x="577204" y="1834367"/>
                  <a:pt x="441960" y="1813560"/>
                </a:cubicBezTo>
                <a:cubicBezTo>
                  <a:pt x="401480" y="1807332"/>
                  <a:pt x="360585" y="1804112"/>
                  <a:pt x="320040" y="1798320"/>
                </a:cubicBezTo>
                <a:cubicBezTo>
                  <a:pt x="289450" y="1793950"/>
                  <a:pt x="259080" y="1788160"/>
                  <a:pt x="228600" y="1783080"/>
                </a:cubicBezTo>
                <a:cubicBezTo>
                  <a:pt x="213360" y="1772920"/>
                  <a:pt x="192588" y="1768132"/>
                  <a:pt x="182880" y="1752600"/>
                </a:cubicBezTo>
                <a:cubicBezTo>
                  <a:pt x="162156" y="1719442"/>
                  <a:pt x="149514" y="1641380"/>
                  <a:pt x="137160" y="1600200"/>
                </a:cubicBezTo>
                <a:lnTo>
                  <a:pt x="91440" y="1463040"/>
                </a:lnTo>
                <a:cubicBezTo>
                  <a:pt x="85648" y="1445664"/>
                  <a:pt x="69151" y="1433703"/>
                  <a:pt x="60960" y="1417320"/>
                </a:cubicBezTo>
                <a:cubicBezTo>
                  <a:pt x="53776" y="1402952"/>
                  <a:pt x="50800" y="1386840"/>
                  <a:pt x="45720" y="1371600"/>
                </a:cubicBezTo>
                <a:cubicBezTo>
                  <a:pt x="40640" y="1270000"/>
                  <a:pt x="30480" y="1168527"/>
                  <a:pt x="30480" y="1066800"/>
                </a:cubicBezTo>
                <a:cubicBezTo>
                  <a:pt x="30480" y="990431"/>
                  <a:pt x="45720" y="914569"/>
                  <a:pt x="45720" y="838200"/>
                </a:cubicBezTo>
                <a:cubicBezTo>
                  <a:pt x="45720" y="812297"/>
                  <a:pt x="37296" y="786990"/>
                  <a:pt x="30480" y="762000"/>
                </a:cubicBezTo>
                <a:cubicBezTo>
                  <a:pt x="22026" y="731003"/>
                  <a:pt x="0" y="670560"/>
                  <a:pt x="0" y="670560"/>
                </a:cubicBezTo>
                <a:cubicBezTo>
                  <a:pt x="5080" y="604520"/>
                  <a:pt x="7025" y="538164"/>
                  <a:pt x="15240" y="472440"/>
                </a:cubicBezTo>
                <a:cubicBezTo>
                  <a:pt x="21624" y="421365"/>
                  <a:pt x="38270" y="426380"/>
                  <a:pt x="60960" y="381000"/>
                </a:cubicBezTo>
                <a:cubicBezTo>
                  <a:pt x="68144" y="366632"/>
                  <a:pt x="72715" y="350962"/>
                  <a:pt x="76200" y="335280"/>
                </a:cubicBezTo>
                <a:cubicBezTo>
                  <a:pt x="82903" y="305115"/>
                  <a:pt x="81668" y="273155"/>
                  <a:pt x="91440" y="243840"/>
                </a:cubicBezTo>
                <a:cubicBezTo>
                  <a:pt x="97232" y="226464"/>
                  <a:pt x="108968" y="211072"/>
                  <a:pt x="121920" y="198120"/>
                </a:cubicBezTo>
                <a:cubicBezTo>
                  <a:pt x="171867" y="148173"/>
                  <a:pt x="139700" y="177800"/>
                  <a:pt x="167640" y="152400"/>
                </a:cubicBezTo>
                <a:close/>
              </a:path>
            </a:pathLst>
          </a:cu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33400" y="838199"/>
            <a:ext cx="8153400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800" b="1" dirty="0" smtClean="0"/>
          </a:p>
          <a:p>
            <a:endParaRPr lang="en-US" sz="2800" b="1" dirty="0" smtClean="0"/>
          </a:p>
          <a:p>
            <a:r>
              <a:rPr lang="en-US" sz="2800" dirty="0" smtClean="0"/>
              <a:t># </a:t>
            </a:r>
            <a:r>
              <a:rPr lang="en-US" sz="2800" dirty="0" err="1" smtClean="0"/>
              <a:t>Adakan</a:t>
            </a:r>
            <a:r>
              <a:rPr lang="en-US" sz="2800" dirty="0" smtClean="0"/>
              <a:t> </a:t>
            </a:r>
            <a:r>
              <a:rPr lang="en-US" sz="2800" dirty="0" err="1" smtClean="0"/>
              <a:t>Mesyuarat</a:t>
            </a:r>
            <a:r>
              <a:rPr lang="en-US" sz="2800" dirty="0" smtClean="0"/>
              <a:t> JK </a:t>
            </a:r>
            <a:r>
              <a:rPr lang="en-US" sz="2800" dirty="0" err="1" smtClean="0"/>
              <a:t>Penasihat</a:t>
            </a:r>
            <a:r>
              <a:rPr lang="en-US" sz="2800" dirty="0" smtClean="0"/>
              <a:t>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</a:t>
            </a:r>
            <a:r>
              <a:rPr lang="en-US" sz="2800" dirty="0" err="1" smtClean="0"/>
              <a:t>Berkaitan</a:t>
            </a:r>
            <a:r>
              <a:rPr lang="en-US" sz="2800" dirty="0" smtClean="0"/>
              <a:t> </a:t>
            </a:r>
            <a:r>
              <a:rPr lang="en-US" sz="2800" dirty="0" err="1" smtClean="0"/>
              <a:t>Halatuju</a:t>
            </a:r>
            <a:r>
              <a:rPr lang="en-US" sz="2800" dirty="0" smtClean="0"/>
              <a:t> Dan </a:t>
            </a:r>
            <a:r>
              <a:rPr lang="en-US" sz="2800" dirty="0" err="1" smtClean="0"/>
              <a:t>Tambahbaik</a:t>
            </a:r>
            <a:r>
              <a:rPr lang="en-US" sz="2800" dirty="0" smtClean="0"/>
              <a:t> </a:t>
            </a:r>
            <a:r>
              <a:rPr lang="en-US" sz="2800" dirty="0" err="1" smtClean="0"/>
              <a:t>Sistem</a:t>
            </a:r>
            <a:r>
              <a:rPr lang="en-US" sz="2800" dirty="0" smtClean="0"/>
              <a:t> </a:t>
            </a:r>
            <a:r>
              <a:rPr lang="en-US" sz="2800" dirty="0" err="1" smtClean="0"/>
              <a:t>Latihan</a:t>
            </a:r>
            <a:r>
              <a:rPr lang="en-US" sz="2800" dirty="0" smtClean="0"/>
              <a:t> </a:t>
            </a:r>
            <a:r>
              <a:rPr lang="en-US" sz="2800" dirty="0" err="1" smtClean="0"/>
              <a:t>Bersesuaian</a:t>
            </a:r>
            <a:r>
              <a:rPr lang="en-US" sz="2800" dirty="0" smtClean="0"/>
              <a:t> </a:t>
            </a:r>
            <a:r>
              <a:rPr lang="en-US" sz="2800" dirty="0" err="1" smtClean="0"/>
              <a:t>Dengan</a:t>
            </a:r>
            <a:r>
              <a:rPr lang="en-US" sz="2800" dirty="0" smtClean="0"/>
              <a:t> </a:t>
            </a:r>
            <a:r>
              <a:rPr lang="en-US" sz="2800" dirty="0" err="1" smtClean="0"/>
              <a:t>Keperluan</a:t>
            </a:r>
            <a:r>
              <a:rPr lang="en-US" sz="2800" dirty="0" smtClean="0"/>
              <a:t> </a:t>
            </a:r>
            <a:r>
              <a:rPr lang="en-US" sz="2800" dirty="0" err="1" smtClean="0"/>
              <a:t>Industri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/>
              <a:t>#</a:t>
            </a:r>
            <a:r>
              <a:rPr lang="en-US" sz="2800" dirty="0" err="1" smtClean="0"/>
              <a:t>Libatkan</a:t>
            </a:r>
            <a:r>
              <a:rPr lang="en-US" sz="2800" dirty="0" smtClean="0"/>
              <a:t> </a:t>
            </a:r>
            <a:r>
              <a:rPr lang="en-US" sz="2800" dirty="0" err="1" smtClean="0"/>
              <a:t>Jk</a:t>
            </a:r>
            <a:r>
              <a:rPr lang="en-US" sz="2800" dirty="0" smtClean="0"/>
              <a:t> </a:t>
            </a:r>
            <a:r>
              <a:rPr lang="en-US" sz="2800" dirty="0" err="1" smtClean="0"/>
              <a:t>Penasihat</a:t>
            </a:r>
            <a:r>
              <a:rPr lang="en-US" sz="2800" dirty="0" smtClean="0"/>
              <a:t> </a:t>
            </a:r>
            <a:r>
              <a:rPr lang="en-US" sz="2800" dirty="0" err="1" smtClean="0"/>
              <a:t>Teknikal</a:t>
            </a:r>
            <a:r>
              <a:rPr lang="en-US" sz="2800" dirty="0" smtClean="0"/>
              <a:t> </a:t>
            </a:r>
            <a:r>
              <a:rPr lang="en-US" sz="2800" dirty="0" err="1" smtClean="0"/>
              <a:t>Dalam</a:t>
            </a:r>
            <a:r>
              <a:rPr lang="en-US" sz="2800" dirty="0" smtClean="0"/>
              <a:t> </a:t>
            </a:r>
            <a:r>
              <a:rPr lang="en-US" sz="2800" dirty="0" err="1" smtClean="0"/>
              <a:t>Proses</a:t>
            </a:r>
            <a:r>
              <a:rPr lang="en-US" sz="2800" dirty="0" smtClean="0"/>
              <a:t> </a:t>
            </a:r>
            <a:r>
              <a:rPr lang="en-US" sz="2800" dirty="0" err="1" smtClean="0"/>
              <a:t>Validasi</a:t>
            </a:r>
            <a:r>
              <a:rPr lang="en-US" sz="2800" dirty="0" smtClean="0"/>
              <a:t> </a:t>
            </a:r>
            <a:r>
              <a:rPr lang="en-US" sz="2800" dirty="0" err="1" smtClean="0"/>
              <a:t>Soalan</a:t>
            </a:r>
            <a:r>
              <a:rPr lang="en-US" sz="2800" dirty="0" smtClean="0"/>
              <a:t> </a:t>
            </a:r>
            <a:r>
              <a:rPr lang="en-US" sz="2800" dirty="0" err="1" smtClean="0"/>
              <a:t>Peperiksaan</a:t>
            </a:r>
            <a:r>
              <a:rPr lang="en-US" sz="2800" dirty="0" smtClean="0"/>
              <a:t> ILJTM</a:t>
            </a:r>
          </a:p>
          <a:p>
            <a:endParaRPr lang="en-US" sz="2800" dirty="0" smtClean="0"/>
          </a:p>
          <a:p>
            <a:r>
              <a:rPr lang="en-US" sz="2800" dirty="0" smtClean="0"/>
              <a:t># </a:t>
            </a:r>
            <a:r>
              <a:rPr lang="en-US" sz="2800" dirty="0" err="1" smtClean="0"/>
              <a:t>Adakan</a:t>
            </a:r>
            <a:r>
              <a:rPr lang="en-US" sz="2800" dirty="0" smtClean="0"/>
              <a:t> Seminar CUDBAS </a:t>
            </a:r>
            <a:r>
              <a:rPr lang="en-US" sz="2800" dirty="0" err="1" smtClean="0"/>
              <a:t>Untuk</a:t>
            </a:r>
            <a:r>
              <a:rPr lang="en-US" sz="2800" dirty="0" smtClean="0"/>
              <a:t> Bantu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</a:t>
            </a:r>
            <a:r>
              <a:rPr lang="en-US" sz="2800" dirty="0" err="1" smtClean="0"/>
              <a:t>Dalam</a:t>
            </a:r>
            <a:r>
              <a:rPr lang="en-US" sz="2800" dirty="0" smtClean="0"/>
              <a:t> </a:t>
            </a:r>
            <a:r>
              <a:rPr lang="en-US" sz="2800" dirty="0" err="1" smtClean="0"/>
              <a:t>Perancangan</a:t>
            </a:r>
            <a:r>
              <a:rPr lang="en-US" sz="2800" dirty="0" smtClean="0"/>
              <a:t> Pembangunan </a:t>
            </a:r>
            <a:r>
              <a:rPr lang="en-US" sz="2800" dirty="0" err="1" smtClean="0"/>
              <a:t>Latihan</a:t>
            </a:r>
            <a:r>
              <a:rPr lang="en-US" sz="2800" dirty="0" smtClean="0"/>
              <a:t> </a:t>
            </a:r>
            <a:r>
              <a:rPr lang="en-US" sz="2800" dirty="0" err="1" smtClean="0"/>
              <a:t>Pekerja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/>
              <a:t># </a:t>
            </a:r>
            <a:r>
              <a:rPr lang="en-US" sz="2800" dirty="0" err="1" smtClean="0"/>
              <a:t>Perjumpaan</a:t>
            </a:r>
            <a:r>
              <a:rPr lang="en-US" sz="2800" dirty="0" smtClean="0"/>
              <a:t> </a:t>
            </a:r>
            <a:r>
              <a:rPr lang="en-US" sz="2800" dirty="0" err="1" smtClean="0"/>
              <a:t>Pengurusan</a:t>
            </a:r>
            <a:r>
              <a:rPr lang="en-US" sz="2800" dirty="0" smtClean="0"/>
              <a:t> </a:t>
            </a:r>
            <a:r>
              <a:rPr lang="en-US" sz="2800" dirty="0" err="1" smtClean="0"/>
              <a:t>Atasan</a:t>
            </a:r>
            <a:r>
              <a:rPr lang="en-US" sz="2800" dirty="0" smtClean="0"/>
              <a:t> </a:t>
            </a:r>
            <a:r>
              <a:rPr lang="en-US" sz="2800" dirty="0" err="1" smtClean="0"/>
              <a:t>Dengan</a:t>
            </a:r>
            <a:r>
              <a:rPr lang="en-US" sz="2800" dirty="0" smtClean="0"/>
              <a:t>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</a:t>
            </a:r>
            <a:r>
              <a:rPr lang="en-US" sz="2800" dirty="0" err="1" smtClean="0"/>
              <a:t>Bagi</a:t>
            </a:r>
            <a:r>
              <a:rPr lang="en-US" sz="2800" dirty="0" smtClean="0"/>
              <a:t> </a:t>
            </a:r>
            <a:r>
              <a:rPr lang="en-US" sz="2800" dirty="0" err="1" smtClean="0"/>
              <a:t>Eratkan</a:t>
            </a:r>
            <a:r>
              <a:rPr lang="en-US" sz="2800" dirty="0" smtClean="0"/>
              <a:t> </a:t>
            </a:r>
            <a:r>
              <a:rPr lang="en-US" sz="2800" dirty="0" err="1" smtClean="0"/>
              <a:t>Hubungan</a:t>
            </a:r>
            <a:r>
              <a:rPr lang="en-US" sz="2800" dirty="0" smtClean="0"/>
              <a:t> </a:t>
            </a:r>
            <a:r>
              <a:rPr lang="en-US" sz="2800" dirty="0" err="1" smtClean="0"/>
              <a:t>Antara</a:t>
            </a:r>
            <a:r>
              <a:rPr lang="en-US" sz="2800" dirty="0" smtClean="0"/>
              <a:t> </a:t>
            </a:r>
            <a:r>
              <a:rPr lang="en-US" sz="2800" dirty="0" err="1" smtClean="0"/>
              <a:t>Dua</a:t>
            </a:r>
            <a:r>
              <a:rPr lang="en-US" sz="2800" dirty="0" smtClean="0"/>
              <a:t> </a:t>
            </a:r>
            <a:r>
              <a:rPr lang="en-US" sz="2800" dirty="0" err="1" smtClean="0"/>
              <a:t>Pihak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762000" y="381000"/>
            <a:ext cx="7620000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>
              <a:buFont typeface="Wingdings" pitchFamily="2" charset="2"/>
              <a:buChar char="q"/>
            </a:pPr>
            <a:r>
              <a:rPr lang="en-US" b="1" dirty="0" smtClean="0"/>
              <a:t> </a:t>
            </a:r>
            <a:r>
              <a:rPr lang="en-US" sz="2800" b="1" dirty="0" smtClean="0"/>
              <a:t>PERTINGKAT PERTEMUAN DENGAN PIHAK INDUSTRI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33400" y="1219200"/>
            <a:ext cx="79248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800" b="1" dirty="0" smtClean="0"/>
          </a:p>
          <a:p>
            <a:r>
              <a:rPr lang="en-US" sz="2800" dirty="0" smtClean="0"/>
              <a:t># </a:t>
            </a:r>
            <a:r>
              <a:rPr lang="en-US" sz="2800" dirty="0" err="1" smtClean="0"/>
              <a:t>Adakan</a:t>
            </a:r>
            <a:r>
              <a:rPr lang="en-US" sz="2800" dirty="0" smtClean="0"/>
              <a:t> Seminar </a:t>
            </a:r>
            <a:r>
              <a:rPr lang="en-US" sz="2800" dirty="0" err="1" smtClean="0"/>
              <a:t>Atau</a:t>
            </a:r>
            <a:r>
              <a:rPr lang="en-US" sz="2800" dirty="0" smtClean="0"/>
              <a:t> </a:t>
            </a:r>
            <a:r>
              <a:rPr lang="en-US" sz="2800" dirty="0" err="1" smtClean="0"/>
              <a:t>Konvensyen</a:t>
            </a:r>
            <a:r>
              <a:rPr lang="en-US" sz="2800" dirty="0" smtClean="0"/>
              <a:t> </a:t>
            </a:r>
            <a:r>
              <a:rPr lang="en-US" sz="2800" dirty="0" err="1" smtClean="0"/>
              <a:t>Teknikal</a:t>
            </a:r>
            <a:r>
              <a:rPr lang="en-US" sz="2800" dirty="0" smtClean="0"/>
              <a:t> </a:t>
            </a:r>
            <a:r>
              <a:rPr lang="en-US" sz="2800" dirty="0" err="1" smtClean="0"/>
              <a:t>Bagi</a:t>
            </a:r>
            <a:r>
              <a:rPr lang="en-US" sz="2800" dirty="0" smtClean="0"/>
              <a:t> </a:t>
            </a:r>
            <a:r>
              <a:rPr lang="en-US" sz="2800" dirty="0" err="1" smtClean="0"/>
              <a:t>Perkongsian</a:t>
            </a:r>
            <a:r>
              <a:rPr lang="en-US" sz="2800" dirty="0" smtClean="0"/>
              <a:t> Idea Dan </a:t>
            </a:r>
            <a:r>
              <a:rPr lang="en-US" sz="2800" dirty="0" err="1" smtClean="0"/>
              <a:t>Pemindahan</a:t>
            </a:r>
            <a:r>
              <a:rPr lang="en-US" sz="2800" dirty="0" smtClean="0"/>
              <a:t> </a:t>
            </a:r>
            <a:r>
              <a:rPr lang="en-US" sz="2800" dirty="0" err="1" smtClean="0"/>
              <a:t>Teknologi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/>
              <a:t>#</a:t>
            </a:r>
            <a:r>
              <a:rPr lang="en-US" sz="2800" dirty="0" err="1" smtClean="0"/>
              <a:t>Lawatan</a:t>
            </a:r>
            <a:r>
              <a:rPr lang="en-US" sz="2800" dirty="0" smtClean="0"/>
              <a:t> </a:t>
            </a:r>
            <a:r>
              <a:rPr lang="en-US" sz="2800" dirty="0" err="1" smtClean="0"/>
              <a:t>Pengurusan</a:t>
            </a:r>
            <a:r>
              <a:rPr lang="en-US" sz="2800" dirty="0" smtClean="0"/>
              <a:t> </a:t>
            </a:r>
            <a:r>
              <a:rPr lang="en-US" sz="2800" dirty="0" err="1" smtClean="0"/>
              <a:t>Institut</a:t>
            </a:r>
            <a:r>
              <a:rPr lang="en-US" sz="2800" dirty="0" smtClean="0"/>
              <a:t> </a:t>
            </a:r>
            <a:r>
              <a:rPr lang="en-US" sz="2800" dirty="0" err="1" smtClean="0"/>
              <a:t>Ke</a:t>
            </a:r>
            <a:r>
              <a:rPr lang="en-US" sz="2800" dirty="0" smtClean="0"/>
              <a:t>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</a:t>
            </a:r>
            <a:r>
              <a:rPr lang="en-US" sz="2800" dirty="0" err="1" smtClean="0"/>
              <a:t>Untuk</a:t>
            </a:r>
            <a:r>
              <a:rPr lang="en-US" sz="2800" dirty="0" smtClean="0"/>
              <a:t> </a:t>
            </a:r>
            <a:r>
              <a:rPr lang="en-US" sz="2800" dirty="0" err="1" smtClean="0"/>
              <a:t>Menjalin</a:t>
            </a:r>
            <a:r>
              <a:rPr lang="en-US" sz="2800" dirty="0" smtClean="0"/>
              <a:t> </a:t>
            </a:r>
            <a:r>
              <a:rPr lang="en-US" sz="2800" dirty="0" err="1" smtClean="0"/>
              <a:t>Hubungan</a:t>
            </a:r>
            <a:r>
              <a:rPr lang="en-US" sz="2800" dirty="0" smtClean="0"/>
              <a:t> </a:t>
            </a:r>
            <a:r>
              <a:rPr lang="en-US" sz="2800" dirty="0" err="1" smtClean="0"/>
              <a:t>Dua</a:t>
            </a:r>
            <a:r>
              <a:rPr lang="en-US" sz="2800" dirty="0" smtClean="0"/>
              <a:t> </a:t>
            </a:r>
            <a:r>
              <a:rPr lang="en-US" sz="2800" dirty="0" err="1" smtClean="0"/>
              <a:t>Hala</a:t>
            </a:r>
            <a:endParaRPr lang="en-US" sz="2800" dirty="0" smtClean="0"/>
          </a:p>
          <a:p>
            <a:endParaRPr lang="en-US" sz="2800" dirty="0" smtClean="0"/>
          </a:p>
          <a:p>
            <a:r>
              <a:rPr lang="en-US" sz="2800" dirty="0" smtClean="0"/>
              <a:t># Bantu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</a:t>
            </a:r>
            <a:r>
              <a:rPr lang="en-US" sz="2800" dirty="0" err="1" smtClean="0"/>
              <a:t>Dalam</a:t>
            </a:r>
            <a:r>
              <a:rPr lang="en-US" sz="2800" dirty="0" smtClean="0"/>
              <a:t> </a:t>
            </a:r>
            <a:r>
              <a:rPr lang="en-US" sz="2800" dirty="0" err="1" smtClean="0"/>
              <a:t>Perancangan</a:t>
            </a:r>
            <a:r>
              <a:rPr lang="en-US" sz="2800" dirty="0" smtClean="0"/>
              <a:t> Pembangunan </a:t>
            </a:r>
            <a:r>
              <a:rPr lang="en-US" sz="2800" dirty="0" err="1" smtClean="0"/>
              <a:t>Latihan</a:t>
            </a:r>
            <a:r>
              <a:rPr lang="en-US" sz="2800" dirty="0" smtClean="0"/>
              <a:t> </a:t>
            </a:r>
            <a:r>
              <a:rPr lang="en-US" sz="2800" dirty="0" err="1" smtClean="0"/>
              <a:t>Pekerja</a:t>
            </a:r>
            <a:r>
              <a:rPr lang="en-US" sz="2800" dirty="0" smtClean="0"/>
              <a:t> (CUDBAS)</a:t>
            </a:r>
          </a:p>
          <a:p>
            <a:endParaRPr lang="en-US" sz="2800" dirty="0" smtClean="0"/>
          </a:p>
          <a:p>
            <a:r>
              <a:rPr lang="en-US" sz="2800" dirty="0" smtClean="0"/>
              <a:t>#</a:t>
            </a:r>
            <a:r>
              <a:rPr lang="en-US" sz="2800" dirty="0" err="1" smtClean="0"/>
              <a:t>Wujud</a:t>
            </a:r>
            <a:r>
              <a:rPr lang="en-US" sz="2800" dirty="0" smtClean="0"/>
              <a:t> </a:t>
            </a:r>
            <a:r>
              <a:rPr lang="en-US" sz="2800" dirty="0" err="1" smtClean="0"/>
              <a:t>Satu</a:t>
            </a:r>
            <a:r>
              <a:rPr lang="en-US" sz="2800" dirty="0" smtClean="0"/>
              <a:t> Platform </a:t>
            </a:r>
            <a:r>
              <a:rPr lang="en-US" sz="2800" dirty="0" err="1" smtClean="0"/>
              <a:t>Bagi</a:t>
            </a:r>
            <a:r>
              <a:rPr lang="en-US" sz="2800" dirty="0" smtClean="0"/>
              <a:t> </a:t>
            </a:r>
            <a:r>
              <a:rPr lang="en-US" sz="2800" dirty="0" err="1" smtClean="0"/>
              <a:t>Kolaborasi</a:t>
            </a:r>
            <a:r>
              <a:rPr lang="en-US" sz="2800" dirty="0" smtClean="0"/>
              <a:t> </a:t>
            </a:r>
            <a:r>
              <a:rPr lang="en-US" sz="2800" dirty="0" err="1" smtClean="0"/>
              <a:t>Atau</a:t>
            </a:r>
            <a:r>
              <a:rPr lang="en-US" sz="2800" dirty="0" smtClean="0"/>
              <a:t> </a:t>
            </a:r>
            <a:r>
              <a:rPr lang="en-US" sz="2800" dirty="0" err="1" smtClean="0"/>
              <a:t>Komunikasi</a:t>
            </a:r>
            <a:r>
              <a:rPr lang="en-US" sz="2800" dirty="0" smtClean="0"/>
              <a:t> </a:t>
            </a:r>
            <a:r>
              <a:rPr lang="en-US" sz="2800" dirty="0" err="1" smtClean="0"/>
              <a:t>Antara</a:t>
            </a:r>
            <a:r>
              <a:rPr lang="en-US" sz="2800" dirty="0" smtClean="0"/>
              <a:t> </a:t>
            </a:r>
            <a:r>
              <a:rPr lang="en-US" sz="2800" dirty="0" err="1" smtClean="0"/>
              <a:t>Industri</a:t>
            </a:r>
            <a:r>
              <a:rPr lang="en-US" sz="2800" dirty="0" smtClean="0"/>
              <a:t> - ILJTM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762000" y="457200"/>
            <a:ext cx="7620000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>
              <a:buFont typeface="Wingdings" pitchFamily="2" charset="2"/>
              <a:buChar char="q"/>
            </a:pPr>
            <a:r>
              <a:rPr lang="en-US" b="1" dirty="0" smtClean="0"/>
              <a:t> </a:t>
            </a:r>
            <a:r>
              <a:rPr lang="en-US" sz="2800" b="1" dirty="0" smtClean="0"/>
              <a:t>PERTINGKAT </a:t>
            </a:r>
            <a:r>
              <a:rPr lang="en-US" sz="2800" b="1" dirty="0" smtClean="0"/>
              <a:t>JALINAN PENSYARAH </a:t>
            </a:r>
            <a:r>
              <a:rPr lang="en-US" sz="2800" b="1" dirty="0" smtClean="0"/>
              <a:t>DENGAN PIHAK INDUSTRI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38200" y="1676400"/>
            <a:ext cx="73914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200" dirty="0" smtClean="0"/>
          </a:p>
          <a:p>
            <a:r>
              <a:rPr lang="en-US" sz="3200" dirty="0" smtClean="0"/>
              <a:t> # </a:t>
            </a:r>
            <a:r>
              <a:rPr lang="en-US" sz="3200" dirty="0" err="1" smtClean="0"/>
              <a:t>Bangunkan</a:t>
            </a:r>
            <a:r>
              <a:rPr lang="en-US" sz="3200" dirty="0" smtClean="0"/>
              <a:t> </a:t>
            </a:r>
            <a:r>
              <a:rPr lang="en-US" sz="3200" dirty="0" err="1" smtClean="0"/>
              <a:t>Pangkalan</a:t>
            </a:r>
            <a:r>
              <a:rPr lang="en-US" sz="3200" dirty="0" smtClean="0"/>
              <a:t> Data </a:t>
            </a:r>
            <a:r>
              <a:rPr lang="en-US" sz="3200" dirty="0" err="1" smtClean="0"/>
              <a:t>Profil</a:t>
            </a:r>
            <a:r>
              <a:rPr lang="en-US" sz="3200" dirty="0" smtClean="0"/>
              <a:t> </a:t>
            </a:r>
            <a:r>
              <a:rPr lang="en-US" sz="3200" dirty="0" err="1" smtClean="0"/>
              <a:t>Industri</a:t>
            </a:r>
            <a:endParaRPr lang="en-US" sz="3200" dirty="0" smtClean="0"/>
          </a:p>
          <a:p>
            <a:r>
              <a:rPr lang="en-US" sz="3200" dirty="0" smtClean="0"/>
              <a:t># </a:t>
            </a:r>
            <a:r>
              <a:rPr lang="en-US" sz="3200" dirty="0" err="1" smtClean="0"/>
              <a:t>Beri</a:t>
            </a:r>
            <a:r>
              <a:rPr lang="en-US" sz="3200" dirty="0" smtClean="0"/>
              <a:t> </a:t>
            </a:r>
            <a:r>
              <a:rPr lang="en-US" sz="3200" dirty="0" err="1" smtClean="0"/>
              <a:t>Penarafan</a:t>
            </a:r>
            <a:r>
              <a:rPr lang="en-US" sz="3200" dirty="0" smtClean="0"/>
              <a:t> </a:t>
            </a:r>
            <a:r>
              <a:rPr lang="en-US" sz="3200" dirty="0" err="1" smtClean="0"/>
              <a:t>Bintang</a:t>
            </a:r>
            <a:r>
              <a:rPr lang="en-US" sz="3200" dirty="0" smtClean="0"/>
              <a:t> </a:t>
            </a:r>
            <a:r>
              <a:rPr lang="en-US" sz="3200" dirty="0" err="1" smtClean="0"/>
              <a:t>Kepada</a:t>
            </a:r>
            <a:r>
              <a:rPr lang="en-US" sz="3200" dirty="0" smtClean="0"/>
              <a:t> </a:t>
            </a:r>
            <a:r>
              <a:rPr lang="en-US" sz="3200" dirty="0" err="1" smtClean="0"/>
              <a:t>Industri</a:t>
            </a:r>
            <a:r>
              <a:rPr lang="en-US" sz="3200" dirty="0" smtClean="0"/>
              <a:t> </a:t>
            </a:r>
            <a:r>
              <a:rPr lang="en-US" sz="3200" dirty="0" err="1" smtClean="0"/>
              <a:t>Tersenarai</a:t>
            </a:r>
            <a:r>
              <a:rPr lang="en-US" sz="3200" dirty="0" smtClean="0"/>
              <a:t> </a:t>
            </a:r>
            <a:r>
              <a:rPr lang="en-US" sz="3200" dirty="0" err="1" smtClean="0"/>
              <a:t>Dalam</a:t>
            </a:r>
            <a:r>
              <a:rPr lang="en-US" sz="3200" dirty="0" smtClean="0"/>
              <a:t> </a:t>
            </a:r>
            <a:r>
              <a:rPr lang="en-US" sz="3200" dirty="0" err="1" smtClean="0"/>
              <a:t>Pangkalan</a:t>
            </a:r>
            <a:r>
              <a:rPr lang="en-US" sz="3200" dirty="0" smtClean="0"/>
              <a:t> Data </a:t>
            </a:r>
            <a:r>
              <a:rPr lang="en-US" sz="3200" dirty="0" err="1" smtClean="0"/>
              <a:t>Untuk</a:t>
            </a:r>
            <a:r>
              <a:rPr lang="en-US" sz="3200" dirty="0" smtClean="0"/>
              <a:t>:</a:t>
            </a:r>
          </a:p>
          <a:p>
            <a:r>
              <a:rPr lang="en-US" sz="3200" dirty="0" smtClean="0"/>
              <a:t> 	</a:t>
            </a:r>
            <a:r>
              <a:rPr lang="en-US" sz="3200" dirty="0" smtClean="0"/>
              <a:t>a</a:t>
            </a:r>
            <a:r>
              <a:rPr lang="en-US" sz="3200" dirty="0" smtClean="0"/>
              <a:t>)</a:t>
            </a:r>
            <a:r>
              <a:rPr lang="en-US" sz="3200" dirty="0" err="1" smtClean="0"/>
              <a:t>L</a:t>
            </a:r>
            <a:r>
              <a:rPr lang="en-US" sz="3200" dirty="0" err="1" smtClean="0"/>
              <a:t>atihan</a:t>
            </a:r>
            <a:r>
              <a:rPr lang="en-US" sz="3200" dirty="0" smtClean="0"/>
              <a:t> </a:t>
            </a:r>
            <a:r>
              <a:rPr lang="en-US" sz="3200" dirty="0" err="1" smtClean="0"/>
              <a:t>Industri</a:t>
            </a:r>
            <a:endParaRPr lang="en-US" sz="3200" dirty="0" smtClean="0"/>
          </a:p>
          <a:p>
            <a:r>
              <a:rPr lang="en-US" sz="3200" dirty="0" smtClean="0"/>
              <a:t> 	</a:t>
            </a:r>
            <a:r>
              <a:rPr lang="en-US" sz="3200" dirty="0" smtClean="0"/>
              <a:t>b)</a:t>
            </a:r>
            <a:r>
              <a:rPr lang="en-US" sz="3200" dirty="0" err="1" smtClean="0"/>
              <a:t>P</a:t>
            </a:r>
            <a:r>
              <a:rPr lang="en-US" sz="3200" dirty="0" err="1" smtClean="0"/>
              <a:t>enempatan</a:t>
            </a:r>
            <a:r>
              <a:rPr lang="en-US" sz="3200" dirty="0" smtClean="0"/>
              <a:t> </a:t>
            </a:r>
            <a:r>
              <a:rPr lang="en-US" sz="3200" dirty="0" err="1" smtClean="0"/>
              <a:t>Pekerjaan</a:t>
            </a:r>
            <a:endParaRPr lang="en-US" sz="3200" dirty="0" smtClean="0"/>
          </a:p>
          <a:p>
            <a:r>
              <a:rPr lang="en-US" sz="3200" dirty="0" smtClean="0"/>
              <a:t>	</a:t>
            </a:r>
            <a:r>
              <a:rPr lang="en-US" sz="3200" dirty="0" smtClean="0"/>
              <a:t>c)Program </a:t>
            </a:r>
            <a:r>
              <a:rPr lang="en-US" sz="3200" dirty="0" smtClean="0"/>
              <a:t>Attachment </a:t>
            </a:r>
            <a:r>
              <a:rPr lang="en-US" sz="3200" dirty="0" err="1" smtClean="0"/>
              <a:t>Industri</a:t>
            </a:r>
            <a:r>
              <a:rPr lang="en-US" sz="3200" dirty="0" smtClean="0"/>
              <a:t>  	    	</a:t>
            </a:r>
            <a:r>
              <a:rPr lang="en-US" sz="3200" dirty="0" err="1" smtClean="0"/>
              <a:t>Pensyarah</a:t>
            </a:r>
            <a:r>
              <a:rPr lang="en-US" sz="3200" dirty="0" smtClean="0"/>
              <a:t> </a:t>
            </a:r>
            <a:endParaRPr lang="en-US" sz="3200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533400"/>
            <a:ext cx="7620000" cy="138499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>
              <a:buFont typeface="Wingdings" pitchFamily="2" charset="2"/>
              <a:buChar char="q"/>
            </a:pPr>
            <a:r>
              <a:rPr lang="en-US" b="1" dirty="0" smtClean="0"/>
              <a:t> </a:t>
            </a:r>
            <a:r>
              <a:rPr lang="en-US" sz="2800" b="1" dirty="0" smtClean="0"/>
              <a:t>MEWUJUDKAN BANK PROFIL INDUSTRI DI PUSAT SUMBER SEBAGAI BAHAN RUJUKAN</a:t>
            </a:r>
            <a:endParaRPr lang="en-US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3938751" y="304800"/>
            <a:ext cx="3903570" cy="1143000"/>
          </a:xfrm>
        </p:spPr>
        <p:txBody>
          <a:bodyPr/>
          <a:lstStyle/>
          <a:p>
            <a:r>
              <a:rPr lang="en-US" smtClean="0"/>
              <a:t>KANDUNGAN</a:t>
            </a:r>
            <a:endParaRPr lang="en-MY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fld id="{F3D73BCD-329C-4BB2-B80F-4BC3172AE1E7}" type="datetime3">
              <a:rPr lang="en-US" smtClean="0"/>
              <a:pPr>
                <a:defRPr/>
              </a:pPr>
              <a:t>15 December 201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07E564-43D8-423E-ADF0-E234D865E8A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graphicFrame>
        <p:nvGraphicFramePr>
          <p:cNvPr id="8" name="Diagram 7"/>
          <p:cNvGraphicFramePr/>
          <p:nvPr/>
        </p:nvGraphicFramePr>
        <p:xfrm>
          <a:off x="1371600" y="304800"/>
          <a:ext cx="6825018" cy="3733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Picture 6" descr="0149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71800" y="4114800"/>
            <a:ext cx="3810000" cy="253841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47800" y="192605"/>
            <a:ext cx="5772302" cy="5979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https://encrypted-tbn3.gstatic.com/images?q=tbn:ANd9GcSiMPFSp5ncI9LuvvjTpEp-p6plqG-tUUQkHRU1Zx3RtWdiut1-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1200" y="2057400"/>
            <a:ext cx="4758756" cy="2819400"/>
          </a:xfrm>
          <a:prstGeom prst="rect">
            <a:avLst/>
          </a:prstGeom>
          <a:noFill/>
        </p:spPr>
      </p:pic>
      <p:sp>
        <p:nvSpPr>
          <p:cNvPr id="51204" name="AutoShape 4" descr="data:image/jpeg;base64,/9j/4AAQSkZJRgABAQAAAQABAAD/2wCEAAkGBxQTEhUUExQWFRUXGBoXGBgYGBgXHBgeFx0YGhcXGBgYHCggGhwlGxcYITEhJSkrLi4uFx8zODMsNygtLisBCgoKDg0OGhAQGy0kIBwsLCwsLCwsLCwsLCwsLCwsLCwsLCwsLCwsLCwsLCwsLC0sLCwsLCwsLCwsLCwsLCwsLP/AABEIALoBDwMBIgACEQEDEQH/xAAbAAABBQEBAAAAAAAAAAAAAAAEAQIDBQYHAP/EAEYQAAEDAgMEBgcFBQYGAwAAAAECAxEAIQQSMQVBUWEGEyJxgZEHMqGxwdHwFUJSkuEUI3KCsjNDU6LC0jRic4OT8RYX4v/EABoBAAMBAQEBAAAAAAAAAAAAAAABAgMEBQb/xAAwEQACAgEDAwIEBAcBAAAAAAAAAQIRAxIhMQQFQRNRFCJhcTJCkbEjJFKB0eHwFf/aAAwDAQACEQMRAD8A6aVUhXSUhrE2JJpmY0oNeoGezGm5z30sd1eg8qAHdbSJd4UmTia9PCkFjs5rwcNMivUws8p0juvUilmD5/pUBVunT3VPHtFILB8Nj0lIKjB3/GnDFQ6lG5QnyNqHw2GgZVCYOv1yqJhGbEqjRCQPEwaoTZaLUQYUnug0xToohCwRB1FQOSKQxqNABzgceQpv7QmYmDvSd1PKOyOOvnTMQErHaHaG+NaAY8qABOoF/CokqSV2Jn3g6U7CJhJnu8qbkTMj68KAFafSZ74EgiePvofHbOZenrEJKhF4hQ3iCL0/CIHV8e0T7bGmrQFK0vEz50hHOemmyf2dQCcxbcFiTcEG4PHv4GsmwszExYjf8BXV+nTIcY6sxmPabJ0zJmUk7pST5VzFDMEC2X8Sri/IXPnWU2iJLchxKYIyxMZLDcRvnfrpQZxBQEozXSSE+M1YqKM4CkFKoFwbSDrEaV7F4HMrMmJTEi0GCOJv4VmppARN40kEZwm9hInmbai16FW0lRK1HtKjLBAF7DNwm/Cice3BWoJQm+gsBbdw8DvqnxLg33109scpNOLvcTdCOLI7INteM90CalwTRWogFCZOhUAfArMDXeRQDRvrF6kwzykFUKIzCD4GY7q107E2Xgw6UJCVggrEFSSk3vBg7p3CeVQkqzH1yQJB0iTFkmL6VCxtBATlJKbGSmDm4JII476gTtFKnE5yUCRmy28ZF5g89KxUJWOy9eKgB2AsFFkqEhB0sZyz2p5GKGxLbPVSG8pCgOySVix9YHUH4VAraiVTda8sBEKIJQCSSTvJMcaG+1AlGaQVKsYEKEGxVuVI30KMlwFnUEekgKH/AA6gf4x/tp+C9IICAHWlFUmSkiN8WPgKG2X0bQkJW40t1JQLBSYBVImLG1iKqsZsltsyrr8oVCz1IOUXEyFXuI8a1tmppj6QWYP7pyYt6keJr2z+nzRQOuQsLvOQAjlqQdIrJY1rCdtSHXAm5SksL8ElU+015SdnlKQMUpKwDmzMuEEm4gDSNN8607Yza/8AzzCxo53ZR86jwXTzDlA64KQuTICSREnKZHKPGax2Dw2BUlebF5VBUJJaXEA3URwPsqTC7MwZXCsakpABkNrAMzaToRY+NLUwNsem+C/Ev/xmoNndO8OpH77M2rkkqHIgjlWQ+xsOCknFtqSVBBKULgWm50GntqF7YqUpKhiGVAAkQVyY4djWjUwN8emuD3OKP/bX8qHwPTnDqB62UHMYASpUp+6bb43Vi8bsVKVQl9kiE+svIq4BPZIkfKKjRsgKAyvNdZmUlTZVlUMpgROswfIUamBvV9NMH+NUjT92oeGlPwPTjDluXiWl3OUgmRPZKd5kVyPaOKDSymQSnekhQ42IsarXdpLUSZUT43raEJPdkOdcHYHPSJhSsJSla0xdcAAcLKPtqHZPTPDNBfWKlSjPYBPG0mOWlcnYwuIWnOhl5SdcyW1lNtTmAiiTsrFpKQcO+CowP3arnhprV6CNbOr4np+1EttLUZHrQBG/eTTHfSA3ollfiUj41zZvY2MkDqHpIkdk30FvMedPRsjFkkdS7bXsn36UaEGpnSF+kNuwDDnPtJ5frULnpDRIHUqy7+0J8BXNcVhn0DMttxKQoolSVAZhqmSNRwoZ0rSYUlQPAgg3gix4gijQg1M6236QGYjqnOcZfnSHp0z+FyOYTbuvXLFMupEqQsDiUkDzNNS8eJpaB6mdMc6eIAhtsmPxGPYAakR04bCx2FFO9VhHcDcia5ml41peh2xBi1LDhUEJAMJsSToOVc+fLHFBzlwioKUnRrtqbcYxDXZzRMgxGk8b1intkAkduw0lJPxrYPbU2cyerscloSlagI56GkPSXZ54f+L9K8mfXuSVY5HR6K8syf2Yne9YnTIJ/q+G41GvYyB6jywbGciSZHPOLVvtnnB4gHqkoUAbyiCJ09ZIqF/C4DMUq6gKBgglCSDwibGuV9x+ZrTLYtYFRgcZsoK1W4CdSlkXmNYd41Wv7IZTmScQU3PrMLgRwIUQR3a11XAYTCtmWy3u++CLaWk0E/0YSqVJeWJ3QhSfAR8a2j3HGl5X9v8AQvQf0MBiuiDjbH7QVIcZjMIBCiDoqCLeNZ0ZZEgRF75jyNzXZsThFhKQ2pYgZSFpUpJ8LgDlXLulWyV4ZzNlTkNkZZ3biNQQK7Oj6z1Hpck/Yyy4tO6RSOvIB5aaQbfGpPs9eULAlBVlC7QTyBMmJ4UGw2VGCcu+4NHtuhtCgUKWvNKVJUcoBFrbiDevQf0OagTGdkgqMH7piLDSwqZnHIjtISSNbSDu0IoTbLqj1QUZ7AI8eJ7gKgw+ijyHvFaRWw6Lba213H3JZdcShIEJClJiNTlB476sGelGJS2hLi3FgkDMpycwnQzc+NA7P2QW1ZiCbe/lUrrCVbwkpM/QrGWVKVG2jY1OIJK1jMSL2m2nCs+WRJ76F2CVoxKs05XM1ydZkgjlrVmw1JO4A3P1vpzW5KYmC2r1GY5UFGWVZkIUJ+4BmSb62FVzvTF0zDSADIshsWPci3LhTtsIVnyltWQDsiblVu0Y4cDTNltNtkOOZF65mzrF9DpO+rSSRNkmG6U4o2QkjecpCNBEkgC8b6tNj9JcW7nBcdTEXDijJVrVPi2moXkNlE5UixAmbjhFT9HlobSsLUBKhE7xxpOq4BMTE9MMVmVPWGCR/aqm1qN2R0gxDmZai4kJ39YslSjoBx4n9aoEsLW6oISVFS1ZQnUyTEVsMHgwlo2lLSDcXzLI7ahxA0HdT2ugbpWZ/EBRMwaibaKiEga05Tx14micCZcHjXQp7GO5O5t/EpWFJcKctgE9lAA3BAGWN+mt9abh+lOKSmOtJTlUk5wlchRBUFZwc0kDWdOFBYs3UJi/woJCtTwAHxouxWWR2+8VBQVlKQoJyJSgJziFlKUJASoj7wE86IY6SPJbQ32FIbnIFtNLyyZMZkmKq8LlVlESMwBtxo3G4YBSQAEyYmLUWgstcN0jxCloJdmezlWApBuTK0EZVGSTmInnTOkDbrb3WvKSta1Z5GkiCNYgXAA5RVMV5REiQaI25j+s6u8wgA9+/wB1QpMppGk2jtZ/FIskJQEiQmJI5m06VTowSzPYUY1gT7qJ2Liv3Kp4R5GrzZr2UrPFtXsGYf01PqtBVmbaQK3nQYBrDPvG14H8o+ZrnLi9OJvNdCxgLGxwNFLgd5Wr5JNeb3PJqxxgvzNHV08abZz8slR10AJ5zUQZTN5PjSOPnMQDadPZ8KLQwBWgNmm9GWDBdcXJBQBABMKCpHa4xFDekRoh/KEoSIzZkjKpWcyc0etCgqDrejfRwuMS4n8SP6SPnRHpMwkqZXGoUk+BBA9p8q8j1HHrqfDR0Nfwjmq1r/Gsd5NXfQtbn7YylLpTJudQRBJSRzAjxqsdag2nzPxojo051eMYVwcT7THxr1syTxv7M54P5iXE7cxjTi0ftLspUpN1qPqkjeTVicY7jNn4gOrzrZKHEEgSE3SoW5UP0ywYTjHxl1VmG71gD8aM9G4Sp55o+q40QR3EfrXLPQsKzRStU+PsaK9bizC5zSsoWrT1Rqo2SO81cu7KSlRBSSUki6ouOIqHEYIq1JjcAQAO4CvVi01aOVqiseeSAQO2Y9Y6fyjd30C2skxIHeYHtq5+yRxV5inMbLQkmU5juzEEc7CJrVIRoMQ9lFZ/bOOCSUpMgnMfIfXjVnjcck2QQeJ3d07zVNi8IlJzOK7R0Tv8twrPTuWnSD8Jjw4pLmVLaUk6mdBFgBeocZtg3DYMEm/f7vq9MDKCYzZrAwLDj3mKlZaTMlItEA6HvrXTe7Ic9qAmmHXT61vxHTz30UNjE/3h8BNXjOORAsByj9KVWOT9CjQyNZSK2NEHMtRmwiJ5Vao6CYpeXIhUk9oFaBA5X1q22Thes/eg+qq3OLn4Vodk4xaHElFybAE8eNeb1/VZMDSgk7OnBBTVsyGytjqZUoyrrCS0kKkFMf2h/wBP5qN2wtTYQ20rKUgyZ1nWats+ZxbouJKUk7xJJVykyfE1lcfiASpW83rqw6pR1S5Zhlaul4KUOnU39/f3UcyTMpP6caVrCjskzoAOHjXlYZaO0hJIPAT4d3OumKMtQHjTM/8ArW00KfVPMn5UdiAtUSiJPPzJigiBEKJTc3iR47x5VSGXOw9nFSEqJhObNFrkWmiNrLyhQIBlO/dBBBHlHiaFwO0upRkN8otHO+o3XoTH7WDgPYIkRqPlyqWmwRVzNSJNRJFSJqxo0WzP7IDl8TUOMxxWqJISm0DfxNBIxKoABgRFKwm9ZUUgzAtZ3UI4qA9t/ZXSPSMoN4ZhB0SqT/ImPeush0CwfWYtBIkJ7XuHuk+Fbjpk8r9pwyW0IcXlWYcnKBa8DfavE63IvicafCtnZii9Do5Ggz9fW+rpI0rqqujzDgBebQtV9JTE3gQePGmK6J4U/wB2R3LV8T9RWEu6YrpF+jKjD9BFxi08848xPwrQ+kts/sqVCxS4PaCKqcJgRhtoJbBJSHEwTEwtKtfOtN07azYN3llV5KHzrizzXxWOa8m0F8jRxxTx0OtewLkOpPBQPlBpHdaRpN+Gvur6B04s5Kpm39IbAD6Fn7yAT4GKqegBKccjdIUPjV36RyIw6zvSof0mqXoLh1HFtkIXEntQYHGTXnY5X0TX0Zs1WWx3SVvJiHgPxk+d/jWZVjuIrX9PG8uKd5gHzEfCsA4L16fRy1YYP6I5cqqTCsVilEWUU76iRilWUV23iB4UMthShJISI+rUCsEGK6xeDqTOxW06a8bUNjOi7TiwomOPOPCjS2Z8ONO6s/RFXZDRGjYDP4fdUw2ExwrwQr6IpUoV9GnYhU7DY4VVY9LTbhQMM4oCO0ASDO8QKteqV9EfOlDS+Ht/WiwHsbNbyiM6JmU5tJ5VNjMrLK1g3P7tJPFXrHvCZ8xUuzdmLcUSoEJHt5A0Xtvoz+1BtKiEBsyAm8jekg2g8da8rreqw6lCXjn6HThxy5Rgv/lmQZQ0CBbU/Kq37YQdWlDxFdeT0Uwp9Zhs/wAiB7hUauheBUSDhkiN4KhM8IO6sY94xf0sb6R+5y1rbjYHqq8cv+6pE7dbVvPkPnXSF+jnZ6v7kjuWv50M56LcCdOtT/OD70mtF3np37/oR8GzBI2uyfvHxBoLaRadIIWBa8gj4VqtrejUJcbGHQ6pBMOFxTVha6YjdOtWH/1en7rmXvAV7gK1/wDU6ZU9XJPwsjmyWE6da35079k4LbP8wrojvorUdMUB/wBr/wDVBueiZ3diWz3pUPcatd16Zr8QvhZmIGz1bik9yhT/ALOc/D7R861S/RNidz7Z8Vj4Go1+i3Gbltkf9RQ9hFUu59M/zoPh5rwZz9lWPunyotpjKgqVqbAVZq9G+PTolKv4XE/GKenolj02WwojjCFR4pMxVfG4JcTX6h6M14NT6K8HdbhG63hYe9flRO2X52shP4Wo8+18RV/0OwXVsq7BRfKARBhI1PerMfGqTpTsDFKxXXsZBISJgFSSAQTdJtXzufLDJ1MrdKmrO2CaijVGo3doNoHbWkeN+6N/hWa6P7AWXVnFqcdWBN1qyTMWAgEVqg022M2VCI0IAB84mvKnHHCVJ39kb234MmjZzz+PGICFIaCkmVjKVBAiyTe8ndvrS7bwfXMuNgwVpIBOg5mKf1ri/UGQfiULnuTu8fKoiylIlXbJIEntakAW030ZM8pOL408DjBLkxiegLaf7XEpHEAAf1H4UdhuieCT/ivHxj/KAPbWtTh0j7o8ABTpq59wyvbU/wBhrHD2K/KCEgMA5RCc+Xs7rancKkJc4oTyAJ+Xuomb1Es1y+o3sabexzH0huEYnQGUJPtUPhWLeCbkpI8a1npLey4pP/ST/Uusg46FJjjrO6vte3J+hD7I8rP+Jjdn4ohSiT2bT8qhxK2jonxMz76ahYCSCRJOlObSK9Tg5t2b1h3MEqGhFTSfw1kGtorRYXTuvpUn2yvh7f0qFqXBeo1cq/D7q8Sr8BrKfbK+fn+lL9uK/wCbz/SnqkPUzVyr8BovZuFU6sJykDeToBxrEHpAr/m/N+lbXoZi+swy1qzSpdr37G6fGk5SHrZqGFqaWETKPViIgwSI7wDrR+Fdk1ncQFoIUXCUTIk30jfrqb86N2dibGK+d7vj9OdxXKOrppaluaIU4UA3ijU6cRXg2zrDU04UKh0VJ1tTqFRPSUwOinBVKwoVSZkHSkQgAAJAAAgAaCLAUtSJTRb4EIE06Ka44EiVEAcT9XorCsBX19AV29N27P1G8Vt7szlljEgmvAVV7cQtK4SV3+6mDrxyijsDh1IbGc9vUiZiQP1vzrr6ns0sGJ5NSdeDOGdSlVBBqFxwC5MVGtazoMo4mCfAA+/ypEMgGdTxNz3Dh4V4b92dKQ1bqj6g1+8r4DU+ykRhgDJ7SuJ3dw0HhUxpKV7bDEUkHUTyNRPNyIiIII0+6Qd3l4VMaaTUqwPKqNVeJ4Xr3Vk8vbT0+5VlftR14JHUJSpRUAcxACRGvutzNU72zn1CcRisg/C0Mo7syquts4vqW5SJUbCeWp8JHnWHxONUoypRUa97tvQTyQUtkvet3+py5syi6K/pDg2kuwgqUMo7SlFRJvN+HKqk4dNWWLOYiahcZTFlX7x+lfS44aIqN3RwybbsrTgkcB5Cmq2ej8NFrTwphQeIrayTbK6IYT8CvzGmK6HYU6JV+Y1o69FZWzo0r2MwroVhuCvzUw9CcN/z/m/StWU1GpPKi2LSjKq6B4c/4n5h8qKweHRhChpCSpKSTeT6xmbR9CrjF4kITO86VnsZhUunMoqCuIUR7NKuCbInS4Lfa21S8YISDlIFtwvAnnTNiYdLmYKIT2ZSdII0rOrwbyRZzrBuChfz/Sitk7V6pQDycloueyqbETFrV53dMM5QUkrovp5JOi/Rs9/dfuWPnXnf2hsEqBgamxqJtLa7tPQDuM25ZkzPlUqkvJHZcCuSVSfymvmqd7neLhtutlSWys5zCfVtmO6dN9Wu0XHGlABOYEawfGaoNhbKKnwpSv3YObJlvnGpnhN6unsdiEqIyFQBscuvlT6mOFNLFvtvZONzd6iL7Uc/wz5Kp32woatn2j/TT07Vd3sn8p+uFe+0lOy11JGYQVaZQd+lYVfg0ssdmYsuIC8sA6X4WnT6ipsRisg0mbC9+W6nISEJAFgBA8Kzju0VF8wQCm4CuBFtRvF/Gu3tvSLqMu6+Vc/4MM2TStuWE4vFWKilRVJToJA7PqpOmuut6YlxWWUktZZk5xcbsyUzBinYIy4hbiE5RClZiLkkiwVcyIOhirHa21klJQ0gJETMDTfYCIi8zbfX2caSUYqjzHHy2U+xNrrQ4CXM6SYIJJ1iCPOjei2MU91zqtVuqMcAIAHkBVTi150ZG05lWVmSoEGDIgAd2/jVl0IaysEHXOa83vEv5WX/AHk36b8YZs7HuuKdCmsgSYSTPa427ovVgCd+vLSeVOWqNdOJtQTm0mxMrBi3Z7Ws/Kvj1inl/BD9z0XJILJr08BQmE2oy4rKlXa4EETHCaNmoninjemUaf1BNPgTKd9Nyjv8aWvTUJN8jFphNOUaq8V0gabNjnUNwMjxNdHT9JLLNJImU0kVPSjGZnFIFktpKR3/AHj5+6sBsvafXOqSICQbHiONXm1sSeqdXPaUIBie0tQExv1mszsLZpbxKklKkykGDY62NuPKvuYxUIqK8Hmt2y7xeGFpkd5FCpw4P3fcR5xWnZwyXUGZG7yqvd6PLB7JBHeU09QnEpHcIRqI7r+41AWlDjHj8a0TeyFjVKk9xze0H4UYNlEj1yPCjUGk0U14qNAvbVaG8nuE+2g39uD7qfOima6ki4z0inI1NZp3a7h3x3CgnMQVG5J9tPSydZZbaxMrsZsNKDQ6agcTBjhTkk8K0jsjN8hiF1MIOtBKcgSTlHEwI86B2ptlLDfWSFjMEwMs3nnyq0yWi6/ZG/wJniAB7RXjgknQrHctY+NZljpyyfWC094n+kmi2umeFJgrI/lV8RUyx45cpDU5IvU4dQ0dcHiFf1A1Mhx8aPnxSPhFVbPSPDK0eb7swB9tWDGNQr1VA9xn3Vzy6Hp5cxRSzZF5CU4vEf4oP8qvgup8LjHgZlH5SPjULbiTvHnRbaBWb7V0r/KV8Tk9yR7ELXq5A4JAHnM0G7giYGdR3CY8ItRyGxU6GRW+DpceBVBEzyue7KVzZrk/8Q5Hcgi3CU05GzHNP2hz8rf+ytEzhZqwwmBE10UkRyDbE2SvL2idImEgnvgCi3tnBCClHZO4i1+ffNWjuLQgd3Cs5tvbJVISMvPfWM4xlyjVbFBjsQd6iTzNVaHu0DMDfNqF6Q7XQwnO4TKiYAuVHU79OdYxfTdZWClAQjzV56eykopcCs6TjEhGIC0RAyq1tz08fOtqkzcb7+dc+wbmZAVMyJ86tFbXdKAlJygCJGtufyrye4dDLqXFx8G+LIoXZp8Ri0I9ZQnWN5i9hrVNi+kEpUWk6RJVreYIA528RVIylWYKKjmkHnbmakP3jxPvJO7upYO04ce892OWaT4IX8Q65661X3SY8tKjDIqYkCo1KtNvGwr0owUdoqjBtvk8wyFOITbs5nbiR2ISJG+65HMCn7SYDmLbUmBIcBgRISoEbtO1VX0VxSnn3FLUISiITvEiw4ySPKtViWwXkqbsA1vsSVKAJ7pQarwJcjeoAEAQOFqTKoVPlPI0l+FQaFVjdqlrVl0jiEgi3MG1VTnS9M2bV4kfKtVNDYrZ6HPXQlXeL+YvTBoyxNNKqkcdJsTQ60zW6MRc1Mz0gNIFUxWWPV5kyNYop/Z6mlZVg5gJvzAPxoHCvdmJ4iiG3Vn1lAxYR/7qeEUVPTBhXUpIBykEzuJHxiufYbBF11DYKEFRyhTighI5qUbAa10DpRtBxGXq1EQjTUTJ3GsHtTai3gkLSgRJlKcpM8eNWuCfJu+i3RTD4cKO0HGEqdUGmv3jawlMFS3AbgEgZQToTuqZz0f4FzrFM4hQSltSgkONuStIUopFrpSnImRJlR4VzBARvCh3R8q0GweiRxaczTqBBIhYNoGbUTUjNNtD0UOIDQQ+FOLUEKSWyAmElTqsySeyiDukwONUuDQdm4x5twJcUgJQooJA7QCrZgOO+gXsJi8OopD5BEjsuqFpki8CJE99SYHBPPrdW64C4oglTigSrW8g0xGy2b0taWtKVJUgkwCrKUzukzW7ypcTmRCVASpGg/iRy5bq4+vo9iBcIC/4FpPsrcdFXXCwkOJUlSCUwrWB6vsPsp20GxfNvjeY77UQjEJ/EPOgcQ6UIzRPxqLD4py6nEJSkBJsbjNoSDu7pp6w0mgwrwnUedW2HXa2+s0mOAPgKPwK40Cfyp+VJyGkFY9dUOOVvNhRmMxSiT2iO63urK9K8Zkbygwpzs9w+8fL31mWzHbf2mXXOyBoQJiABcn65Vmdq4LKJjvtAPON26tn0M2O2+8HHjCVL6ptP4ikFSvIA+dWXTno4htoOJSAMxQYsCJIBjjIHnSskk6HO58I2Tw91quorP8AQYZcIjx95rQZidBSKTFEew1GVWgUzEOJRGdVz6qRdSjwAGteZQ4593qkEb4Lh5i+VPjPcKTYbsD2ptNrDiXCM0SE7z4ViNsdInHiQDlRpG88a2GI6EsuKKluPKJ1OZE+1HxqAej5g6POjlKP9lCaE4squhm1UsvSuySkg8jaCeVq3WyMWXAp0zDiuxOoQgZU259o/wA1U2C6DMIIJW6uLwSkT35Ug+2tQ0gAABMADSPZSf0LjGiRDk04zUagDupQI0nz+jSLPKRPCkUyaQKP18qVKqYGJIphTRLiIqBQrY5gdQpDUi01CTTFQ4LjSlY2m0d4B3/WtQLVWb25gSFFaRKTcxuNFBaNm4wy76y53a0BiOhzSvUWR3gH5VztxUmiG9ouDRR8yPcaakFGnxPQZz7qkK8SPfV30DwTuEdUHUkNmDIIVuIOnI+ysfszb+ISZLysvA399XLXS50a5Vd4j3UNpglRN0owDyn1rQAUyY5ibG/KqNTTo9ZsnuvWgb6bj7zU/wAKvgRRrHTLDH1gpPemfcDR8oUzHDF5TdKkn64Xra9ANoZw6klRylJvO+dJ7qJa2tgHdS0f4gAfbFWezcHhWyVNJCcwvlJg+GlDr3GrNdsrDNvtFCjC03HMXuOMSfZVBtBaCVJWDAIypSSVGIETwgcN9TNFG5wjy+VTpbbOrvmJ+NTQ3uewghCQdQBNHMm1Qpba/wAYHuQfnXn8U0hMZirwCfeTUtlogfXXOOl+0M7i4NkjImDv+97ZHhWh230qbQFBsArgxvg84isSwkrcQDe6Sq86qSCb99KxSdnUdj7OaYbw4yhS2ZIO+VglQn+eP5RQnS5ZXg3SbaKuZuVp0qz2fhC2VFRGZxzNJ0SICYHgnzNQ+kPIWAyymynW0SByUo/0zR4BFNs9LeHwycygBEybeEbzN7UjWKees0jqkf4ix2o4pb4/xeW6rHAbHQi5la963DmPhNkjkBVp1FqztstRK/AbKQ3JEqWfWWo5lHxiw5C1WKGRXkoIuL/XGpEr4+VIuhQgUvVA7qeFU6TQMjDRGhnvvS5uVSXrxFAURxXurrymvoWpMsUAeKeVRlE6inmlimMFfwaVesJ+uNVz+wh90+dXRVSE7/ZFXZDijJv7HdE9mRyiqnEMEWIg87V0EnlUbrCVeskHvAPwqtRDxnOVJoHFOEaV0LFbFZVfLlm3Zkdx+hvqtxHQ4GcrhHekH3VWtEaGcuxOCkknWhTg4romL6GOjQpVymPfVViejTydWleAn3U9SJpmQ6mkKavXtlkG6SO8GhlYPxqhUVUU1QNWC8JPKoDs/maQA1EYPGONGW1qTyBt4jQ0pwcaa0qWqKDgs0dLMSN6D3p+RFTJ6Z4jg35K/wB1U3UUisMRqIpaUO2X46c4j8KP83zod/pa64ClxKVA/hUts+aVX8qrGcGFWK0oO7NMfmSDQzjcEix5i4PdSpBbCWXLXPx3VaYLE5Vg8Uj2KSr/AE1TMad30KISdOVKSBHbcMtSwpakgIlIbg5iq0lR04xG6DehHX0u4lLSO0hgFazb+0cASlI7kZvzVidk9Knm2w21BVPZmSUnikfe1Nq2HRbAlhqFz1iznWTvJ3TyrJvwaxLxDXIVIE91JNOT30jUXKaQtTTguk6ykA0II0v3/OnJcGhsef1BpwcFDIxzSiUpWhRBgpCkkg8CJ7/KgYXNNJqBUjQx36V5Lh7vr20gJ5qM0OjEpUopStBUnVIUCod6QZFT5aYDVCfr6+jTdN9eUUzBUJJygZhJMTlHE5bxwpqCFCUqBB0IMi30aYBAbr0CkrxpiPV6l30hoENUgGom1GSDuqaol6p76YEkjhTFQKcK8aBjHGQrUAjnQTuxmVGVNIJ45RPsqwcNjXk/CkKkyjX0Ywxv1YHcVfA0M70Ow53LHcr51o3TehH1XH1vp2xOKKE9CWfxLHin5VGvoOx+NYPen29mtG39e2iUIEaCjU/cWlGawPRTDJNxmOvaMjyFjV0dmtqASptBTuGUEDutRLgsO8e8U9FLkaiikxXRDCL/ALqP4VKHxigHfR/hzvcHcU/EVr291Kd31uo1NBoRh1+jfD7nHf8AJ8qcz6OmQf7Z4jeOx/tmttv8RTd3jT1MWiJU7I6NMYe6Ekq/Eo5iO7h4AVbdWKkXXk6/XCoKRAUkaGRw3+B+fnSpcnT9fGpTr5++hcUNDvzRPLhTQycgV72fCoxoPCpONIY0K+v0qtTsZBjMSrtKVfSFLzlIA3THlR7hpQL0WJlN9gSIU6VGUmVJJJyBICT2oySM2W17zxPwWADZJKs0iDYjSe0SVGVGRJ3wLCKK/WvDX650WLSUzuxCSqHSJKiBlkDOsLKSFKIiQBYCQTTm9lAAArVnmQs6gdXkABnTMAuOXjVur/UPhUhFvH4U7DSipVsib9Yc2sx/eSD1mvKMvAxNWGFaDaEoSIAECmM+sfGihRdjS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06" name="AutoShape 6" descr="data:image/jpeg;base64,/9j/4AAQSkZJRgABAQAAAQABAAD/2wCEAAkGBxQTEhUUExQWFRUXGBoXGBgYGBgXHBgeFx0YGhcXGBgYHCggGhwlGxcYITEhJSkrLi4uFx8zODMsNygtLisBCgoKDg0OGhAQGy0kIBwsLCwsLCwsLCwsLCwsLCwsLCwsLCwsLCwsLCwsLCwsLC0sLCwsLCwsLCwsLCwsLCwsLP/AABEIALoBDwMBIgACEQEDEQH/xAAbAAABBQEBAAAAAAAAAAAAAAAEAQIDBQYHAP/EAEYQAAEDAgMEBgcFBQYGAwAAAAECAxEAIQQSMQVBUWEGEyJxgZEHMqGxwdHwFUJSkuEUI3KCsjNDU6LC0jRic4OT8RYX4v/EABoBAAMBAQEBAAAAAAAAAAAAAAABAgMEBQb/xAAwEQACAgEDAwIEBAcBAAAAAAAAAQIRAxIhMQQFQRNRFCJhcTJCkbEjJFKB0eHwFf/aAAwDAQACEQMRAD8A6aVUhXSUhrE2JJpmY0oNeoGezGm5z30sd1eg8qAHdbSJd4UmTia9PCkFjs5rwcNMivUws8p0juvUilmD5/pUBVunT3VPHtFILB8Nj0lIKjB3/GnDFQ6lG5QnyNqHw2GgZVCYOv1yqJhGbEqjRCQPEwaoTZaLUQYUnug0xToohCwRB1FQOSKQxqNABzgceQpv7QmYmDvSd1PKOyOOvnTMQErHaHaG+NaAY8qABOoF/CokqSV2Jn3g6U7CJhJnu8qbkTMj68KAFafSZ74EgiePvofHbOZenrEJKhF4hQ3iCL0/CIHV8e0T7bGmrQFK0vEz50hHOemmyf2dQCcxbcFiTcEG4PHv4GsmwszExYjf8BXV+nTIcY6sxmPabJ0zJmUk7pST5VzFDMEC2X8Sri/IXPnWU2iJLchxKYIyxMZLDcRvnfrpQZxBQEozXSSE+M1YqKM4CkFKoFwbSDrEaV7F4HMrMmJTEi0GCOJv4VmppARN40kEZwm9hInmbai16FW0lRK1HtKjLBAF7DNwm/Cice3BWoJQm+gsBbdw8DvqnxLg33109scpNOLvcTdCOLI7INteM90CalwTRWogFCZOhUAfArMDXeRQDRvrF6kwzykFUKIzCD4GY7q107E2Xgw6UJCVggrEFSSk3vBg7p3CeVQkqzH1yQJB0iTFkmL6VCxtBATlJKbGSmDm4JII476gTtFKnE5yUCRmy28ZF5g89KxUJWOy9eKgB2AsFFkqEhB0sZyz2p5GKGxLbPVSG8pCgOySVix9YHUH4VAraiVTda8sBEKIJQCSSTvJMcaG+1AlGaQVKsYEKEGxVuVI30KMlwFnUEekgKH/AA6gf4x/tp+C9IICAHWlFUmSkiN8WPgKG2X0bQkJW40t1JQLBSYBVImLG1iKqsZsltsyrr8oVCz1IOUXEyFXuI8a1tmppj6QWYP7pyYt6keJr2z+nzRQOuQsLvOQAjlqQdIrJY1rCdtSHXAm5SksL8ElU+015SdnlKQMUpKwDmzMuEEm4gDSNN8607Yza/8AzzCxo53ZR86jwXTzDlA64KQuTICSREnKZHKPGax2Dw2BUlebF5VBUJJaXEA3URwPsqTC7MwZXCsakpABkNrAMzaToRY+NLUwNsem+C/Ev/xmoNndO8OpH77M2rkkqHIgjlWQ+xsOCknFtqSVBBKULgWm50GntqF7YqUpKhiGVAAkQVyY4djWjUwN8emuD3OKP/bX8qHwPTnDqB62UHMYASpUp+6bb43Vi8bsVKVQl9kiE+svIq4BPZIkfKKjRsgKAyvNdZmUlTZVlUMpgROswfIUamBvV9NMH+NUjT92oeGlPwPTjDluXiWl3OUgmRPZKd5kVyPaOKDSymQSnekhQ42IsarXdpLUSZUT43raEJPdkOdcHYHPSJhSsJSla0xdcAAcLKPtqHZPTPDNBfWKlSjPYBPG0mOWlcnYwuIWnOhl5SdcyW1lNtTmAiiTsrFpKQcO+CowP3arnhprV6CNbOr4np+1EttLUZHrQBG/eTTHfSA3ollfiUj41zZvY2MkDqHpIkdk30FvMedPRsjFkkdS7bXsn36UaEGpnSF+kNuwDDnPtJ5frULnpDRIHUqy7+0J8BXNcVhn0DMttxKQoolSVAZhqmSNRwoZ0rSYUlQPAgg3gix4gijQg1M6236QGYjqnOcZfnSHp0z+FyOYTbuvXLFMupEqQsDiUkDzNNS8eJpaB6mdMc6eIAhtsmPxGPYAakR04bCx2FFO9VhHcDcia5ml41peh2xBi1LDhUEJAMJsSToOVc+fLHFBzlwioKUnRrtqbcYxDXZzRMgxGk8b1intkAkduw0lJPxrYPbU2cyerscloSlagI56GkPSXZ54f+L9K8mfXuSVY5HR6K8syf2Yne9YnTIJ/q+G41GvYyB6jywbGciSZHPOLVvtnnB4gHqkoUAbyiCJ09ZIqF/C4DMUq6gKBgglCSDwibGuV9x+ZrTLYtYFRgcZsoK1W4CdSlkXmNYd41Wv7IZTmScQU3PrMLgRwIUQR3a11XAYTCtmWy3u++CLaWk0E/0YSqVJeWJ3QhSfAR8a2j3HGl5X9v8AQvQf0MBiuiDjbH7QVIcZjMIBCiDoqCLeNZ0ZZEgRF75jyNzXZsThFhKQ2pYgZSFpUpJ8LgDlXLulWyV4ZzNlTkNkZZ3biNQQK7Oj6z1Hpck/Yyy4tO6RSOvIB5aaQbfGpPs9eULAlBVlC7QTyBMmJ4UGw2VGCcu+4NHtuhtCgUKWvNKVJUcoBFrbiDevQf0OagTGdkgqMH7piLDSwqZnHIjtISSNbSDu0IoTbLqj1QUZ7AI8eJ7gKgw+ijyHvFaRWw6Lba213H3JZdcShIEJClJiNTlB476sGelGJS2hLi3FgkDMpycwnQzc+NA7P2QW1ZiCbe/lUrrCVbwkpM/QrGWVKVG2jY1OIJK1jMSL2m2nCs+WRJ76F2CVoxKs05XM1ydZkgjlrVmw1JO4A3P1vpzW5KYmC2r1GY5UFGWVZkIUJ+4BmSb62FVzvTF0zDSADIshsWPci3LhTtsIVnyltWQDsiblVu0Y4cDTNltNtkOOZF65mzrF9DpO+rSSRNkmG6U4o2QkjecpCNBEkgC8b6tNj9JcW7nBcdTEXDijJVrVPi2moXkNlE5UixAmbjhFT9HlobSsLUBKhE7xxpOq4BMTE9MMVmVPWGCR/aqm1qN2R0gxDmZai4kJ39YslSjoBx4n9aoEsLW6oISVFS1ZQnUyTEVsMHgwlo2lLSDcXzLI7ahxA0HdT2ugbpWZ/EBRMwaibaKiEga05Tx14micCZcHjXQp7GO5O5t/EpWFJcKctgE9lAA3BAGWN+mt9abh+lOKSmOtJTlUk5wlchRBUFZwc0kDWdOFBYs3UJi/woJCtTwAHxouxWWR2+8VBQVlKQoJyJSgJziFlKUJASoj7wE86IY6SPJbQ32FIbnIFtNLyyZMZkmKq8LlVlESMwBtxo3G4YBSQAEyYmLUWgstcN0jxCloJdmezlWApBuTK0EZVGSTmInnTOkDbrb3WvKSta1Z5GkiCNYgXAA5RVMV5REiQaI25j+s6u8wgA9+/wB1QpMppGk2jtZ/FIskJQEiQmJI5m06VTowSzPYUY1gT7qJ2Liv3Kp4R5GrzZr2UrPFtXsGYf01PqtBVmbaQK3nQYBrDPvG14H8o+ZrnLi9OJvNdCxgLGxwNFLgd5Wr5JNeb3PJqxxgvzNHV08abZz8slR10AJ5zUQZTN5PjSOPnMQDadPZ8KLQwBWgNmm9GWDBdcXJBQBABMKCpHa4xFDekRoh/KEoSIzZkjKpWcyc0etCgqDrejfRwuMS4n8SP6SPnRHpMwkqZXGoUk+BBA9p8q8j1HHrqfDR0Nfwjmq1r/Gsd5NXfQtbn7YylLpTJudQRBJSRzAjxqsdag2nzPxojo051eMYVwcT7THxr1syTxv7M54P5iXE7cxjTi0ftLspUpN1qPqkjeTVicY7jNn4gOrzrZKHEEgSE3SoW5UP0ywYTjHxl1VmG71gD8aM9G4Sp55o+q40QR3EfrXLPQsKzRStU+PsaK9bizC5zSsoWrT1Rqo2SO81cu7KSlRBSSUki6ouOIqHEYIq1JjcAQAO4CvVi01aOVqiseeSAQO2Y9Y6fyjd30C2skxIHeYHtq5+yRxV5inMbLQkmU5juzEEc7CJrVIRoMQ9lFZ/bOOCSUpMgnMfIfXjVnjcck2QQeJ3d07zVNi8IlJzOK7R0Tv8twrPTuWnSD8Jjw4pLmVLaUk6mdBFgBeocZtg3DYMEm/f7vq9MDKCYzZrAwLDj3mKlZaTMlItEA6HvrXTe7Ic9qAmmHXT61vxHTz30UNjE/3h8BNXjOORAsByj9KVWOT9CjQyNZSK2NEHMtRmwiJ5Vao6CYpeXIhUk9oFaBA5X1q22Thes/eg+qq3OLn4Vodk4xaHElFybAE8eNeb1/VZMDSgk7OnBBTVsyGytjqZUoyrrCS0kKkFMf2h/wBP5qN2wtTYQ20rKUgyZ1nWats+ZxbouJKUk7xJJVykyfE1lcfiASpW83rqw6pR1S5Zhlaul4KUOnU39/f3UcyTMpP6caVrCjskzoAOHjXlYZaO0hJIPAT4d3OumKMtQHjTM/8ArW00KfVPMn5UdiAtUSiJPPzJigiBEKJTc3iR47x5VSGXOw9nFSEqJhObNFrkWmiNrLyhQIBlO/dBBBHlHiaFwO0upRkN8otHO+o3XoTH7WDgPYIkRqPlyqWmwRVzNSJNRJFSJqxo0WzP7IDl8TUOMxxWqJISm0DfxNBIxKoABgRFKwm9ZUUgzAtZ3UI4qA9t/ZXSPSMoN4ZhB0SqT/ImPeush0CwfWYtBIkJ7XuHuk+Fbjpk8r9pwyW0IcXlWYcnKBa8DfavE63IvicafCtnZii9Do5Ggz9fW+rpI0rqqujzDgBebQtV9JTE3gQePGmK6J4U/wB2R3LV8T9RWEu6YrpF+jKjD9BFxi08848xPwrQ+kts/sqVCxS4PaCKqcJgRhtoJbBJSHEwTEwtKtfOtN07azYN3llV5KHzrizzXxWOa8m0F8jRxxTx0OtewLkOpPBQPlBpHdaRpN+Gvur6B04s5Kpm39IbAD6Fn7yAT4GKqegBKccjdIUPjV36RyIw6zvSof0mqXoLh1HFtkIXEntQYHGTXnY5X0TX0Zs1WWx3SVvJiHgPxk+d/jWZVjuIrX9PG8uKd5gHzEfCsA4L16fRy1YYP6I5cqqTCsVilEWUU76iRilWUV23iB4UMthShJISI+rUCsEGK6xeDqTOxW06a8bUNjOi7TiwomOPOPCjS2Z8ONO6s/RFXZDRGjYDP4fdUw2ExwrwQr6IpUoV9GnYhU7DY4VVY9LTbhQMM4oCO0ASDO8QKteqV9EfOlDS+Ht/WiwHsbNbyiM6JmU5tJ5VNjMrLK1g3P7tJPFXrHvCZ8xUuzdmLcUSoEJHt5A0Xtvoz+1BtKiEBsyAm8jekg2g8da8rreqw6lCXjn6HThxy5Rgv/lmQZQ0CBbU/Kq37YQdWlDxFdeT0Uwp9Zhs/wAiB7hUauheBUSDhkiN4KhM8IO6sY94xf0sb6R+5y1rbjYHqq8cv+6pE7dbVvPkPnXSF+jnZ6v7kjuWv50M56LcCdOtT/OD70mtF3np37/oR8GzBI2uyfvHxBoLaRadIIWBa8gj4VqtrejUJcbGHQ6pBMOFxTVha6YjdOtWH/1en7rmXvAV7gK1/wDU6ZU9XJPwsjmyWE6da35079k4LbP8wrojvorUdMUB/wBr/wDVBueiZ3diWz3pUPcatd16Zr8QvhZmIGz1bik9yhT/ALOc/D7R861S/RNidz7Z8Vj4Go1+i3Gbltkf9RQ9hFUu59M/zoPh5rwZz9lWPunyotpjKgqVqbAVZq9G+PTolKv4XE/GKenolj02WwojjCFR4pMxVfG4JcTX6h6M14NT6K8HdbhG63hYe9flRO2X52shP4Wo8+18RV/0OwXVsq7BRfKARBhI1PerMfGqTpTsDFKxXXsZBISJgFSSAQTdJtXzufLDJ1MrdKmrO2CaijVGo3doNoHbWkeN+6N/hWa6P7AWXVnFqcdWBN1qyTMWAgEVqg022M2VCI0IAB84mvKnHHCVJ39kb234MmjZzz+PGICFIaCkmVjKVBAiyTe8ndvrS7bwfXMuNgwVpIBOg5mKf1ri/UGQfiULnuTu8fKoiylIlXbJIEntakAW030ZM8pOL408DjBLkxiegLaf7XEpHEAAf1H4UdhuieCT/ivHxj/KAPbWtTh0j7o8ABTpq59wyvbU/wBhrHD2K/KCEgMA5RCc+Xs7rancKkJc4oTyAJ+Xuomb1Es1y+o3sabexzH0huEYnQGUJPtUPhWLeCbkpI8a1npLey4pP/ST/Uusg46FJjjrO6vte3J+hD7I8rP+Jjdn4ohSiT2bT8qhxK2jonxMz76ahYCSCRJOlObSK9Tg5t2b1h3MEqGhFTSfw1kGtorRYXTuvpUn2yvh7f0qFqXBeo1cq/D7q8Sr8BrKfbK+fn+lL9uK/wCbz/SnqkPUzVyr8BovZuFU6sJykDeToBxrEHpAr/m/N+lbXoZi+swy1qzSpdr37G6fGk5SHrZqGFqaWETKPViIgwSI7wDrR+Fdk1ncQFoIUXCUTIk30jfrqb86N2dibGK+d7vj9OdxXKOrppaluaIU4UA3ijU6cRXg2zrDU04UKh0VJ1tTqFRPSUwOinBVKwoVSZkHSkQgAAJAAAgAaCLAUtSJTRb4EIE06Ka44EiVEAcT9XorCsBX19AV29N27P1G8Vt7szlljEgmvAVV7cQtK4SV3+6mDrxyijsDh1IbGc9vUiZiQP1vzrr6ns0sGJ5NSdeDOGdSlVBBqFxwC5MVGtazoMo4mCfAA+/ypEMgGdTxNz3Dh4V4b92dKQ1bqj6g1+8r4DU+ykRhgDJ7SuJ3dw0HhUxpKV7bDEUkHUTyNRPNyIiIII0+6Qd3l4VMaaTUqwPKqNVeJ4Xr3Vk8vbT0+5VlftR14JHUJSpRUAcxACRGvutzNU72zn1CcRisg/C0Mo7syquts4vqW5SJUbCeWp8JHnWHxONUoypRUa97tvQTyQUtkvet3+py5syi6K/pDg2kuwgqUMo7SlFRJvN+HKqk4dNWWLOYiahcZTFlX7x+lfS44aIqN3RwybbsrTgkcB5Cmq2ej8NFrTwphQeIrayTbK6IYT8CvzGmK6HYU6JV+Y1o69FZWzo0r2MwroVhuCvzUw9CcN/z/m/StWU1GpPKi2LSjKq6B4c/4n5h8qKweHRhChpCSpKSTeT6xmbR9CrjF4kITO86VnsZhUunMoqCuIUR7NKuCbInS4Lfa21S8YISDlIFtwvAnnTNiYdLmYKIT2ZSdII0rOrwbyRZzrBuChfz/Sitk7V6pQDycloueyqbETFrV53dMM5QUkrovp5JOi/Rs9/dfuWPnXnf2hsEqBgamxqJtLa7tPQDuM25ZkzPlUqkvJHZcCuSVSfymvmqd7neLhtutlSWys5zCfVtmO6dN9Wu0XHGlABOYEawfGaoNhbKKnwpSv3YObJlvnGpnhN6unsdiEqIyFQBscuvlT6mOFNLFvtvZONzd6iL7Uc/wz5Kp32woatn2j/TT07Vd3sn8p+uFe+0lOy11JGYQVaZQd+lYVfg0ssdmYsuIC8sA6X4WnT6ipsRisg0mbC9+W6nISEJAFgBA8Kzju0VF8wQCm4CuBFtRvF/Gu3tvSLqMu6+Vc/4MM2TStuWE4vFWKilRVJToJA7PqpOmuut6YlxWWUktZZk5xcbsyUzBinYIy4hbiE5RClZiLkkiwVcyIOhirHa21klJQ0gJETMDTfYCIi8zbfX2caSUYqjzHHy2U+xNrrQ4CXM6SYIJJ1iCPOjei2MU91zqtVuqMcAIAHkBVTi150ZG05lWVmSoEGDIgAd2/jVl0IaysEHXOa83vEv5WX/AHk36b8YZs7HuuKdCmsgSYSTPa427ovVgCd+vLSeVOWqNdOJtQTm0mxMrBi3Z7Ws/Kvj1inl/BD9z0XJILJr08BQmE2oy4rKlXa4EETHCaNmoninjemUaf1BNPgTKd9Nyjv8aWvTUJN8jFphNOUaq8V0gabNjnUNwMjxNdHT9JLLNJImU0kVPSjGZnFIFktpKR3/AHj5+6sBsvafXOqSICQbHiONXm1sSeqdXPaUIBie0tQExv1mszsLZpbxKklKkykGDY62NuPKvuYxUIqK8Hmt2y7xeGFpkd5FCpw4P3fcR5xWnZwyXUGZG7yqvd6PLB7JBHeU09QnEpHcIRqI7r+41AWlDjHj8a0TeyFjVKk9xze0H4UYNlEj1yPCjUGk0U14qNAvbVaG8nuE+2g39uD7qfOima6ki4z0inI1NZp3a7h3x3CgnMQVG5J9tPSydZZbaxMrsZsNKDQ6agcTBjhTkk8K0jsjN8hiF1MIOtBKcgSTlHEwI86B2ptlLDfWSFjMEwMs3nnyq0yWi6/ZG/wJniAB7RXjgknQrHctY+NZljpyyfWC094n+kmi2umeFJgrI/lV8RUyx45cpDU5IvU4dQ0dcHiFf1A1Mhx8aPnxSPhFVbPSPDK0eb7swB9tWDGNQr1VA9xn3Vzy6Hp5cxRSzZF5CU4vEf4oP8qvgup8LjHgZlH5SPjULbiTvHnRbaBWb7V0r/KV8Tk9yR7ELXq5A4JAHnM0G7giYGdR3CY8ItRyGxU6GRW+DpceBVBEzyue7KVzZrk/8Q5Hcgi3CU05GzHNP2hz8rf+ytEzhZqwwmBE10UkRyDbE2SvL2idImEgnvgCi3tnBCClHZO4i1+ffNWjuLQgd3Cs5tvbJVISMvPfWM4xlyjVbFBjsQd6iTzNVaHu0DMDfNqF6Q7XQwnO4TKiYAuVHU79OdYxfTdZWClAQjzV56eykopcCs6TjEhGIC0RAyq1tz08fOtqkzcb7+dc+wbmZAVMyJ86tFbXdKAlJygCJGtufyrye4dDLqXFx8G+LIoXZp8Ri0I9ZQnWN5i9hrVNi+kEpUWk6RJVreYIA528RVIylWYKKjmkHnbmakP3jxPvJO7upYO04ce892OWaT4IX8Q65661X3SY8tKjDIqYkCo1KtNvGwr0owUdoqjBtvk8wyFOITbs5nbiR2ISJG+65HMCn7SYDmLbUmBIcBgRISoEbtO1VX0VxSnn3FLUISiITvEiw4ySPKtViWwXkqbsA1vsSVKAJ7pQarwJcjeoAEAQOFqTKoVPlPI0l+FQaFVjdqlrVl0jiEgi3MG1VTnS9M2bV4kfKtVNDYrZ6HPXQlXeL+YvTBoyxNNKqkcdJsTQ60zW6MRc1Mz0gNIFUxWWPV5kyNYop/Z6mlZVg5gJvzAPxoHCvdmJ4iiG3Vn1lAxYR/7qeEUVPTBhXUpIBykEzuJHxiufYbBF11DYKEFRyhTighI5qUbAa10DpRtBxGXq1EQjTUTJ3GsHtTai3gkLSgRJlKcpM8eNWuCfJu+i3RTD4cKO0HGEqdUGmv3jawlMFS3AbgEgZQToTuqZz0f4FzrFM4hQSltSgkONuStIUopFrpSnImRJlR4VzBARvCh3R8q0GweiRxaczTqBBIhYNoGbUTUjNNtD0UOIDQQ+FOLUEKSWyAmElTqsySeyiDukwONUuDQdm4x5twJcUgJQooJA7QCrZgOO+gXsJi8OopD5BEjsuqFpki8CJE99SYHBPPrdW64C4oglTigSrW8g0xGy2b0taWtKVJUgkwCrKUzukzW7ypcTmRCVASpGg/iRy5bq4+vo9iBcIC/4FpPsrcdFXXCwkOJUlSCUwrWB6vsPsp20GxfNvjeY77UQjEJ/EPOgcQ6UIzRPxqLD4py6nEJSkBJsbjNoSDu7pp6w0mgwrwnUedW2HXa2+s0mOAPgKPwK40Cfyp+VJyGkFY9dUOOVvNhRmMxSiT2iO63urK9K8Zkbygwpzs9w+8fL31mWzHbf2mXXOyBoQJiABcn65Vmdq4LKJjvtAPON26tn0M2O2+8HHjCVL6ptP4ikFSvIA+dWXTno4htoOJSAMxQYsCJIBjjIHnSskk6HO58I2Tw91quorP8AQYZcIjx95rQZidBSKTFEew1GVWgUzEOJRGdVz6qRdSjwAGteZQ4593qkEb4Lh5i+VPjPcKTYbsD2ptNrDiXCM0SE7z4ViNsdInHiQDlRpG88a2GI6EsuKKluPKJ1OZE+1HxqAej5g6POjlKP9lCaE4squhm1UsvSuySkg8jaCeVq3WyMWXAp0zDiuxOoQgZU259o/wA1U2C6DMIIJW6uLwSkT35Ug+2tQ0gAABMADSPZSf0LjGiRDk04zUagDupQI0nz+jSLPKRPCkUyaQKP18qVKqYGJIphTRLiIqBQrY5gdQpDUi01CTTFQ4LjSlY2m0d4B3/WtQLVWb25gSFFaRKTcxuNFBaNm4wy76y53a0BiOhzSvUWR3gH5VztxUmiG9ouDRR8yPcaakFGnxPQZz7qkK8SPfV30DwTuEdUHUkNmDIIVuIOnI+ysfszb+ISZLysvA399XLXS50a5Vd4j3UNpglRN0owDyn1rQAUyY5ibG/KqNTTo9ZsnuvWgb6bj7zU/wAKvgRRrHTLDH1gpPemfcDR8oUzHDF5TdKkn64Xra9ANoZw6klRylJvO+dJ7qJa2tgHdS0f4gAfbFWezcHhWyVNJCcwvlJg+GlDr3GrNdsrDNvtFCjC03HMXuOMSfZVBtBaCVJWDAIypSSVGIETwgcN9TNFG5wjy+VTpbbOrvmJ+NTQ3uewghCQdQBNHMm1Qpba/wAYHuQfnXn8U0hMZirwCfeTUtlogfXXOOl+0M7i4NkjImDv+97ZHhWh230qbQFBsArgxvg84isSwkrcQDe6Sq86qSCb99KxSdnUdj7OaYbw4yhS2ZIO+VglQn+eP5RQnS5ZXg3SbaKuZuVp0qz2fhC2VFRGZxzNJ0SICYHgnzNQ+kPIWAyymynW0SByUo/0zR4BFNs9LeHwycygBEybeEbzN7UjWKees0jqkf4ix2o4pb4/xeW6rHAbHQi5la963DmPhNkjkBVp1FqztstRK/AbKQ3JEqWfWWo5lHxiw5C1WKGRXkoIuL/XGpEr4+VIuhQgUvVA7qeFU6TQMjDRGhnvvS5uVSXrxFAURxXurrymvoWpMsUAeKeVRlE6inmlimMFfwaVesJ+uNVz+wh90+dXRVSE7/ZFXZDijJv7HdE9mRyiqnEMEWIg87V0EnlUbrCVeskHvAPwqtRDxnOVJoHFOEaV0LFbFZVfLlm3Zkdx+hvqtxHQ4GcrhHekH3VWtEaGcuxOCkknWhTg4romL6GOjQpVymPfVViejTydWleAn3U9SJpmQ6mkKavXtlkG6SO8GhlYPxqhUVUU1QNWC8JPKoDs/maQA1EYPGONGW1qTyBt4jQ0pwcaa0qWqKDgs0dLMSN6D3p+RFTJ6Z4jg35K/wB1U3UUisMRqIpaUO2X46c4j8KP83zod/pa64ClxKVA/hUts+aVX8qrGcGFWK0oO7NMfmSDQzjcEix5i4PdSpBbCWXLXPx3VaYLE5Vg8Uj2KSr/AE1TMad30KISdOVKSBHbcMtSwpakgIlIbg5iq0lR04xG6DehHX0u4lLSO0hgFazb+0cASlI7kZvzVidk9Knm2w21BVPZmSUnikfe1Nq2HRbAlhqFz1iznWTvJ3TyrJvwaxLxDXIVIE91JNOT30jUXKaQtTTguk6ykA0II0v3/OnJcGhsef1BpwcFDIxzSiUpWhRBgpCkkg8CJ7/KgYXNNJqBUjQx36V5Lh7vr20gJ5qM0OjEpUopStBUnVIUCod6QZFT5aYDVCfr6+jTdN9eUUzBUJJygZhJMTlHE5bxwpqCFCUqBB0IMi30aYBAbr0CkrxpiPV6l30hoENUgGom1GSDuqaol6p76YEkjhTFQKcK8aBjHGQrUAjnQTuxmVGVNIJ45RPsqwcNjXk/CkKkyjX0Ywxv1YHcVfA0M70Ow53LHcr51o3TehH1XH1vp2xOKKE9CWfxLHin5VGvoOx+NYPen29mtG39e2iUIEaCjU/cWlGawPRTDJNxmOvaMjyFjV0dmtqASptBTuGUEDutRLgsO8e8U9FLkaiikxXRDCL/ALqP4VKHxigHfR/hzvcHcU/EVr291Kd31uo1NBoRh1+jfD7nHf8AJ8qcz6OmQf7Z4jeOx/tmttv8RTd3jT1MWiJU7I6NMYe6Ekq/Eo5iO7h4AVbdWKkXXk6/XCoKRAUkaGRw3+B+fnSpcnT9fGpTr5++hcUNDvzRPLhTQycgV72fCoxoPCpONIY0K+v0qtTsZBjMSrtKVfSFLzlIA3THlR7hpQL0WJlN9gSIU6VGUmVJJJyBICT2oySM2W17zxPwWADZJKs0iDYjSe0SVGVGRJ3wLCKK/WvDX650WLSUzuxCSqHSJKiBlkDOsLKSFKIiQBYCQTTm9lAAArVnmQs6gdXkABnTMAuOXjVur/UPhUhFvH4U7DSipVsib9Yc2sx/eSD1mvKMvAxNWGFaDaEoSIAECmM+sfGihRdjS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08" name="AutoShape 8" descr="data:image/jpeg;base64,/9j/4AAQSkZJRgABAQAAAQABAAD/2wCEAAkGBxQTEhUUEhQWFhUXGBUXFxgYGBgXGRgcGBUWFhcYFxgYHCggHBwlHRQXITEhJSkrLi4uFx8zODMsNygtLisBCgoKDg0OGxAQGywkICQsLCwsLCwsLCwsLCwsLS8sLCwsLDcsLCwsLCwsLCwsLCwsLCwsLCwsLCwsLCwsLCwsLP/AABEIAMIBBAMBIgACEQEDEQH/xAAcAAACAgMBAQAAAAAAAAAAAAAEBQMGAAIHAQj/xABGEAABAwIDBQUEBwYEBQUBAAABAgMRACEEEjEFBkFRYSJxgZGxEzKhwQdCUnLR4fAUIzNikqIVssLxQ1OCk9IWJERzgzT/xAAaAQADAQEBAQAAAAAAAAAAAAAAAQIDBAUG/8QAMhEAAgIBAwIEBAQGAwAAAAAAAAECEQMEEiEFMRNBUYEicZHBMmGh8BQjcrHh8RUzQv/aAAwDAQACEQMRAD8A6OBNe1xXBbYxLX8N1xI5ZiR/SZFPcHv7iUe+G1jqCk+aTHwrldnTwdMr2apTH0kMW9qhSOoKVDwEgnwFeK38LxyYZDaD/wAzEr9mnvSkSpXdalyHBdlVo24CbKB7jNc13uWEhv8AaMct5anGSpluEtFsqlwBCJUezIBJ7qM9vsdMZsO6yNAstPtjwVM0UKy/uAGxrwiBXPN1XmnGEZtpOMvZnApJeQQQHFBHZdB1SEmxGtWhGHxgH7rFMPD+dsif+ppVvKk3XmMdsuGps1JMLisWDDuHa6qbekeS0g009uB1rhy9R0+L8U17clxxSl2RPFYJpXjNuNNe+42j7yhPlM1Xdo/SHhUWC1LPJA+aiK5f+VnP/oxSl+hp4FfiaRb8S2oxHxrZBjj8a5hivpMJ/hME9Vk+gt8aUv8A0h42ZSG09yZ9SaL6pk7RjH5ktYY+dnWnji85Uj2KkAe6VKSddSqDHlHWnCcEsgTExcToe/jXGcPvfinUhZdUI94JASCDY6Dr6VaN1sUp5Kmzin0OJgoh05VpPLNPaB+EV6WnwarZ/Mkr/I5ZzjfBcXcA9mJyyOFxf40v2xgXFNrGVQVEpMGyk9pB8CBWuzf2hLmR3FvwfdUAyodJCmpjxp26xjkK7DzTiYJ7bcK6DsrSK6liyLuT4iEeFxntG0LEjOkGOIMXEcwbUfhV9+goJ/ep5CsmIwiCeiiCe4KSR/dU2G3jwi9Wnmj90KH9hV6Vfg5KugWWPYrP0lP5SzHvQ4J6HLIqlMYgpJM3M3CiOYg/rjXR97tgoxpQcPiWs6AoezcVkUc0cInhyqg7W3dxWFMvNKCR9cAqR/UmQPGK5MsJ7uxLpskRiDGpP41il8QqFAjw4jjfTSlocAvJ0E9L/GeletvZiI1E/kT51j4bTJOnbp76urcDTxSf3ZhR7JKkiZUrTQEmwobevaGNTmDik+z0BTAHavlTaSbRPyqhIK82RBMrsmI1VYiY6fHWn+3H3g8kYgFZaCAvtFIMACZjkdT+NdeOTlHkTZ0fcnaocZSghQUAfekmBHGBzp/jcSG21rVohKlHuAJPpXL9lb0FLiWUJQnMsJLmZUxYABRBgQBw8K6BtVbS8Mv24lASVKSDchJPdYx01it8ck1w+w0+DkW/W8X7W6gwpLeWyFHjoqw0M28KqzaYPEdw9aOKWluLPaAOYoQLk8EhSjadO/pwcbG2Th3HmQnEg5pCgU8hcDSZOhjiK5lFzndhdCPBYN50obaSO1AusAqJUZ948DMxTo7uYoYkpa/cns5ipfZBUm+WLKhKgTEkXpztTYycO3iFsYhCClSUOH+GtLa1JKomL9k6TIkUDhNmOKQHEY0KccUQ2oLcLjohSVoKVC4yoERxJB0rsjFLgls9GyMG0PZvrKnElQUUJK0+8owlQItfvmayr9hN0E+zRkedR2RIKUkyLH+IkkaRE2ivaqoeg6ZwZTijxqMtzRJRWrTZWtKE6qISB1JAHrXO3StnQAA5SSOPQHTvBrY4mbEwOeg/GauGztzXACvFKSyJN1qSgEc7SfCE1tiXtksgpU4p88Q2ggH/APRV/JUVwy6hjb2wTl8l9+xqsTXd0V/YmzsS4pKsOys6dpIKPH2hIE1dNm7k4lSvaYh1OY/bnEqHd7WwPW9KXN/vYsgYRhLaZAGdZWRbU/o0jxm8uKxHv4lUH6qIQPIVzTjrssvgrHH8+X90O8ce/J0TF7KwLRCsW97VQ09suQOiWkQANNBQLu/uCYGTDNyOTaA2nx/2rm37ODc37zPrW60RSXSFN3nySl+iD+Ir8KL3szfp7EYlppLSUIWsAzJVFybzyHKrXvE+UYV9YMEIMHkTCR8TXO/o8w+bGpP2ELV8An/VV336cjAvdcg/vB+VeTrtPix63FixxpcX9Trw5JPE5NnH0NlUFRJJ1kmpm8OOUV7hxpRqU19dwux5vcGDNaKao9QtUJFAHuylhKik6EH8/hfwFOME8W1g3lsk21KeMc418Kr51kcL07wzuZIWn3kRbmNI/wBNbY35Gc0dWwO1x7HOgpUpuCpJ4pP1k9LAkcxVo2ftNDyM6DwvzBiuNbHxYQeJQIIPHIeHWLg9U1fMEprDBDiCS2swDNoN4PUVpRluoZ7S2KcQgKz5XEkiTcGDInl4VvgcOpw5cRhwlYjK4kC576bYYoUkxaQLzqIsa1wDpTCVzJJgzMxVbpVQvhsHXs5MELbQsjjAAI5FJtQODaQArIVtx7yUmUjmchlMf9NWQih8I0Ekxxv1qVK07Kapo45vC1hl4haFt+ydSo9tsAA6/wARsSP+pJ43B4VVttQJSvPIMLiw4TeNDwtxFdj323QS/mfZEYhMKH88WII5kenWuWY7F+2SG1yl1Fgb9sX7JEa8u7KeEc08fmimT7tbO9o6oDKShIWgKXYkEAjmTMRGnWttvYolV1rUoznkAgKIkpCo4C1joKA2Ht5eGdS+htJKQUiZPeQJsY8OlENYxDr6nFBaErWpWXNISVGVKsNIMDurP/xV8kstez9yHHcM06yrK9CSQ4YEhRgpIFrBOvW9N95gcEwtCgXi+CCVKMkwJKiJJAjQQOYqws704ZLafaOozezzqCTNgJMDWY4a1Vsb9JOHcCk4ciEpjMsXvaBmETpxOl6tqEEawx73wUP/ANPOttB9xISkrASFGCo+9GVQ6Xm1+VE4N1pId/aVTMLyjOjOq5UCUi14vbSwpjtjeJFlLV7RcEpuF5bTeDAuapC3VuqJuQeJt4A1yRfxfCvqXlxKHF2xngdthp9t5ScyUKzBsKKdLiTFxMaza1WXYWKw20cRLqENlLn7sJX7MqzFxxKTe8HsyLxFc9fZWE3FjPyj0qbCY5xtTa0iC3dJ53k3866YSa5bMtp2xO0MciUOslRSYCkuKAKYBHuCJvBOtqyufYzb2JxSy6XkoskBKVJSAAkcCqTrrXtaePA08GRSFrVzqwfR3h82NC1aMoceP/SIHxUKrLh61bdx05MLtB7kyUA8pSon5eVcWunWCVedL6ujXGrkU/H45by1LWpSiST2iTEmQBPChorUKqRKriuqKUVSRk227YQ6j92fvAeST+NCAUbiFfux98n5fKhU02xEjeJUNDUn+IHiAagqF0ikgOj/AESqzuvriMraE/1KJ/0VY/pIXGBUOak/C9IfofT+5xCua0jyRPzpt9Jiv/Zj73yr5TUvd1aP5Nf2PTxqtMc6Yo1AoJii0qr6s842cNeNtFWnpNRlyTRze8S2G0IZUUKUSStJANrXMTcg8eVUhWCKwp4g+VS4FWQjlofG3wMVOd88VJBxTnis/OoHNse2P71SST9cBIVpHaIjMO+4+FVFqxMYtOltduElPcffT4GD4mrButvY17JeGxKSEkwiO1l6HjY6a6Cqy3iUuIUAf3jYC+8AQuPA0vxSIKXBoqx6H9fOtpvi0Y1fDO57t41BBQFhQ+qQZm0iPWmGPUSnMkkKRcciONcO2bth1hYW0qOfEHjcfOuo7E3vbfQkLhCiOJsToQD15GlHJyZyg0i2jFFTQcRcgXHqKhb2gklHCfK/Dzqv7P2kEPqZV2UrTAPCbhJ+XhRDjJS4lK7JmLdYm9bxgvMylOXDQ33hLqEB1hOZbZJKftpPvJ7+I6gVyvfLBBxKcdh0gtuWdRxbc1UDyn1jnfpm3sU4zhlLT2gjW05kRefn41RMJtnDjM2lxQYfC/aJUkShShJUMusSkzqfCudo6HKzngazhSkG4uRPWyhz1v1olK4y6kzc34cBRu1NlLwjuUwQPdWnRYNxPelQ8+lLsW2QZExEpMiYPoeFceaDQLkHxSfaTaeHEE8Zg/q1eJ2PwBKtTGg089a9OMyJy2OhJ4x33rMJtAzeY5CwN+dTFtJmitECcOSg5TASSDNh+dEoQAmCq44T+oonFtlwApSEiZCSoC560M5gV+6CBOslMSBzBk0WVRHMxmSYN9T3V48W0jKkT38PLWt8RhFrUO0kiBcE/OpntmqSCVHL6Duih0AuCAeEcvWso9vAW98D9a1lVaKsQOGrfsTs7GxquKlEeAbSPUmqY64OYq77OYUvYb2QE9pSiBrGcJsBrpXJr/wQ/qj/AHOjB3fyZzoOGpWl3HeKxOBc4Nr/AKVH5VKjZz0/wnf+2v8ACu7dH1Ofa/Q3xDnYT3qPxFQB4UUrZD6kiGXeP/DX/wCNeJ3exR0w7/gy6fRFDlH1QUwUuVEo00b3WxZ/+M//ANl35oohG52MP/x3v+2oeoqfFxrvJfVBtfoX36JURg3DzeV8G2h8zU/0nr/9sPvfI/hRW4uzV4fCBDiSlRWpRB1EkAT4JplvNsb9rwqm0xnBBTJgG0EE8JBN6+QnmgupeI3xu7nrqLWnrzo5E0uKlU9ami9y8an/AICj3KQfRVA4ndvFpEHDveDalf5Zr6yOpwy7TX1R5eyS8gJDvlQb+snS8ec/OinNmvJ95txP3m1p9RXiHVo4wDqDcHvBEVruTXBNeoseXJmtZpi6lKr5Eg8cpgd8SRQ2Iw4SNInn+VPkTQfsl0hQc4ELQf6LT4EeVP8AGsALWj6qu0npOnxt3VV8GCEnjcafdV061YcU7nb/AJken+9dMO1GckR4cSMvEGL03wIhIBsROnfNVtx8yFp14/rrWydou8FK8h+FYtcjq+xbf2p0HWRbv46edP8A/wBQhwJzkpdAAJuM0aTwJ61zxO0cRzV/SPwqYY54GFOQeUAm/QCtYZnExlg3HfNn41OIY7ZBSoFCokcPDnwrlG+O6zmEJUjttEgAgHM3rAP48ary95cS0goaWqCZiECDzHZMHuion96Me8MqnjERd2O4xTc4sPDl5sb7K2sVpGHxABSpKg0pQmCcxSk9MxIHETbjIj2EJT7JYAJOZJkEA/e4pUIHkaShp1VlezN9S4O+LCakW88UjsJ7PZmQEiSYlWkdTwqGrVFKLRjikplKxEDtW16AnS3SsZbKh2CAkcctxxjNrWu0cQFSpSUmYzL7V1RHuj14m/KhUuhVgsAfZhRHmYrkcHE0SYfiHCIyHokTN4mw1qQYVwXAlRuReOpM0HhXAg2UJMXKLetFDFEiMxEz1sO6/GokpIpI2Vs1ROckpQBeAZkawBeNL6XqbEqcC0t5VSQYkwCD3moHscrgo3tbXiLknrFYjEWiVaRGojlE1PxBQxwmzXSkH2SFdSR3V7SpT6+CVQLCxFhWVOyZVRKo4k8a619Hb5RgkZTqXJ/rNcvdJj6t66RuEqcEjopwf3n8a5usK9P7r7nboq8T2LenaC+dYcevnQFemvltibPVaXoMk45f2qkTjV/aNLQqts9ZvGg2oZDGL+16VHidplAuVGeQoRK69cvwmkscU+UJxRKxi0rkCQUmFAiIrxG0gDZDhH2g2pSfMUp2SSHMRyLlv6UzRqsGvVt/KORSkx3GK3lixxk0+37+YrbiN0YqROvdUwxI50qYBCQFKzG8mIm5OnjUoVXJLGr4HsT7jNLx4Go3IOoB7wDQSVVt7U1Ki12YniRq9sxlfvMNK720H1FJts7qYVxBCWUNngUJCCO7Lanvt60LoNb49Rng7Un9Q8GL7pFawu5WGQi6SpWklSuNrAGONPRubgzfIoHSy1fO1ErUIF/rI/zCj0rrXJ1DVJJrJJd/M556fG3SQvwn0ebPOiXJ/wDtWJ8jTNjcXAC37OD95S1eqq3ad60wYxnBV+tb4usZZNLLJ/M48mn29itb27jsrYy4Rpllc3UGxmUCkjLmAzD8qY7B3Zbbabb/AGVg5EpSXHEJK1kCFKPZ1Jk605RtZAcLYBWoAEhIFs3uySQJMfqaPGK+0hYHOAfgkk/CvpdJhyZY73N7fJf5OWUklVArWxMPH8FnwbQPlWuL2Y2lBLTDKlgdkKASknkSEmPI0Z+1JV7pCuf58qgRtBE3kVWbVafFNY8jSfq/2yVGT5Rjuymin+GgHolP4VV9s7rYd9aFOIgp+zKQYMiRoYN6uiHQdCDXpAPLyrHV6BZ5LLgybX+XZlQybeGiljZDaUlJQlQ4hSUme+1U/bn0etuZlMFDS5MJghBECx1ymZuLaWrp+JcR9YeIkfA0A8lHA+dfMR1GfSZG4ZFL9+j+x3JxyL4kcLd3ceQstuggjhlBsTYixt1oprd9wTNtPeAAPgBmrrOOwudMHwPL8qrjysilIXYpiR6HuPOvoNL1V6jtw/QxnptvmVRvdtQ99SOEw3m14duI8qYYbYDYPaUtQnQqgeSAI8zROI2gDZMnTQTUAW+v3GzHUV6EXlmZ1BDXD7LwwH/87Jv9ZtKj5qBNZS5vBYiL5h4xWVXg5PUN0fQ5KtSuJPnVy3MwLjrBLeJU0UrUkpiRcBWaZ45oiPq1VlJq8bAWhDDYEiUyepNybfq1b5sTyw2p0/lZEJqDthZ2fjk+7iUK7x+RrdhWOCkheRSJGYjKDE3PP4VO3iDwV8/Wi8JigTC0+KZEd94rys2hzxi2oxl7UzrhqMbfdr3D81ZnqZWDTMZ1A9SD61r+wn6rgPePwNfOPanTPTPErqZjEFM8ZqI4N0aBJ8SK8Laxq2rwg1LSfmMmTATCRF5nUk2/AV6kIzleU5iADCjFumlDKfgXCh3g1sjEJPEedFSBJBOblXuaogoV7NZtFk4VXuaoZr0GpoZMVVrNaTXoNFAaPqsPvI/zCiEukaE0M+LD7yf8wqUGqkrivcmuQlOJVU7eO5iku1NoJYaU4oSBAjqbUPsTbiMQVJEBSQCYMiD+vjR/CyljeSuF5kS23TI9vYp1GKL+HmzaM44HtKR8xRuF3/KYS8VJPEKBNuYIF6E25bN1ZV/a60R6mlWz9oZkeyWQADMm5yjl519l0zPWkgvRfc8PUwSzNFlxe+jEAodJUOSFA+cCgsNv4jNDqTlP1xqO9MX7xUuydp4Zs9tao4AJseUzfidTypvgVMvuSAhTJC0ezWnTsZitVtLECDxrp1Olw6zHtypfde5jGcscuAljayYC21gpNwQdaMb2+eBmuZYpwYR4paM4d0yEk/wlExfUx+XKmmGxawdE+Z/Cvk8/T8ulnUJuvLmj1sTxZo21yXte8BP1UmgMTtQnRKY7q5btLfrENuLb9g2kpJF1KV3Eaai/jSnF7840iykI+6gE/wB010rpeszczkvdmfjaeD4R1h7aCj07qQ7UUHCAVSoAwJEkam3K1UAYzEPtZy+oqKygICiFGBOaBAAuBwm/KpN32Fs4ltStSYN79oEfOu/S9HeCSm5dvQzyauM1tSLugKSIMpHDsTRTDgiM6/BB/wDP5VB7ZepS55K/8K8LxntZgOsp9Yr3EjiD2yg6lXl+deUCMYOCx/UKymBz3/Dkn6tWPZ2HhtAtYcKds7DB4eZAofaDHslFI5SKqqB9iqY3eANrKQgqgkSDe3SnWyceFwpJMGRfUGDY1UHEiVKJ0/G/rTHYT2RzLwWB+KT6jxoTIaOj4XEe0bB+siEnqPqH1HgKkpVshK0rmOyoZVdxi/gQD4UxUqvmeq6Gay+JBcPv8z1tHqFs2yfYIS4RoamRiVc6CCq3SuvDlD1R3p2HnFGDpoa9zNnVAPgKCJsajZxBIBKTcDQg/n8KlYuLQ+A79lZP1Y7pHpWf4cj6q1j/AKp9aiSut81S968x0e/4evg4D3j8K1OFdH2D4kVuF9akS8edLdL5+wUwUpcGrZ8CDWpfjVKh3g0Rh9qpUspkCLTzpwwylWqu/SB1r1MPStVlju2L6nJLW4ourK27ikkDtD3kf5hRKVg8act4Bh8Rmkz9kcLzp3VOdzm1XCh5EeivlW0+i6lRXH6r/BK6hivkrzzSVpKVgKSRBBEg0PszZbLE+yQE5tTqTGgk8L1YXtznB7jnxn1AoNzd/Fp4BXl8jXNLQauEXGnXp/qzVarDJ3Yj2/7p/wDreH9oV/opFsJppTn71BWkciRHGYGumnSnW8eGxCWxmZVGYpkJUfeQtNgASdZ04VWHHm0faQqxgrSIjT3gDx4ivd6dhnHTpSXKbPK1kk826JeNkbFw2IU5lUWssRkCSCL3IUmQeGtJXMA+h72TKVZFLUgAhMq1BJi0QPKkDG9ZZczhQk6ELR6ZTTXY/wBJi2SskF0rJJBUSJPEBCJHhXqxjHakcnxWwvfBlpkpZdaCXMgK1IJVck5Yk2NvjQey8RKYJkpsTzGqVeIihtt7wuY9QUMMpNspyh05hJIkqSdJN+ta4TBYpKswwzmXKEmBJsSQbwTryrh1+n8WHwrlHVpsuyfIPvfh2k5X1trWTCFZVBOk5Sqx7vAVWHdqJiEYZsfeJWfwq54vFyChbLhkQUFtz0y0uw27Kl/w8E+vvOUeajU6HNkhi2Ti+C88ISnuUlyVbZOPIWrKIKhYJHET+vAVa90dhpU4C9JcUpAa7UBJCpUVE20EQKf7K+j1+ZKGsOOJ/iL+Nh8at2yt2mcMc13HPtrMkfdGg8Ir0I75eVfM5m4R87Ys2xsP2aiUkgcRr+hQDTZGivJUVY9r4oAHNYVTHtoNAntR5/KtpRM4seIn7X935VlLcOc6QpBCknQg2NZUlEbzylamfIelQP4UrHI8OPnW4QBqanbcSOfjSZdHOH2BmWM4SsZhlVPavGURxMVriG1tOKCklJSUkSCPqiLHpBpjvdhAl0rTPaAUAPtTc/CfGgNpvrWc6l5s2aRaxT7PoPtHyNCZDLYhwkBaSRIBEdanb2k4njPf+NVrZW3UIQG3ARGitRHWnTD7bnuLBp3Qhs3tofXR4i9GsbQZV9aO+3rSIsGolNdKznix5PxxT9i4zlHsy5MMZoyqHjYdSSOFD4Qy2ki4IEHnyNVRlwpNiQCCCAToRBtVq2ZiWMiUN4iIAADqR6iBXj67pakk9PH58ndptY0/5jNkLi3f61IldD4fehA7DiJAJEphQsYnhamOHxuDc4pSTw9z4aVhLoUmk4yVmi6hG+UQpXQ+1cXkRb3lWHzP6507TsdKroc84UPMVUd4GHUOw4IA92NCOYrLT9HyxzLxF8KKy66Dxva+QRoxpTMbTUGyFKhNpJMCBzNLG6V7Z23+zxABc95IVcN8if5q+ms8ii3bu7aS3mPaOnAjiftRNW3Z+9rX1ipPePwrg7u/2KUqXMi/vBXqFUbhN+/+Zhz3oV8lD51pGRLR9G4PbLLnuuJ7pE/GmAM1wPZm82FeIAXkUbZXBlPcDJST41ZP8UdZAyLVmNkpzWJ6/wAo1JquBdjp7RzOKPBMIHeQFK9UjwNTPYdC7LSlXeAfWqBsnel1pASqHDJJUZBJJkn425CBThnfZv67ah3EGkOx0dh4bX2DX9CfwqRGBYTo22O5IpUN68Mse+Un+YEfEUpxu3mh/wAUedTLgEy3hTSdMo7hWwxKOYrm+I3uaToVK7hS5/fg/UR5n8KnehnWjiEcxUTuPbAua4vid8cSrQhPcKS4zazznvOLPiarcgOwbW3vwzQIKxPIX9KrS96FvpcU1kbQgdpx0wO4QDJ4fCqTtbd/EMMh54JbzlIQlSh7RRVxCBwGpmIpNvBtQJSlhsn2bYk395QEqUesk+daKXBKigra23luKMqK+psn9fqaEcwq1YZzFSlbbSkJUJi61BIgAXAJE94qlYvHLWdSBwA0q0bDWs7OxSSezlSqPuuAfP4VDbKpBey95ltoypsCZi1rAfKsqvMm1ZUDs6W8VDgb8qEcUoWuKnvWzLsH/afjSNRJtRtRGYkkp06VXnXoBAOqio1fDJJnj+tNKU4zZDKjdEHmJHwFBFFJdcFaNLUPdJHdVxRu439UGeA/3rdzYgRZQg8qTDaIcFt99GvaHWnWF3qSf4iYoN3AwdLdKhxGHTwRHOgRZ2cWy57qhW4wsixmqOvCqGkj4VKxtN5vRRPfTAuBaI4VoU0pwm9XBxPjr0+VNsPtRlzQxSTAmwz60GULUnuJFNRt55acjuVxP8wuO5QgigEtg3SQa2SimmI2WsAEkQkAqPGybx6VzbauIU66SblR0HM6D5eFXzb7uXDr6lKf9R+FU7ZTES4dTMdB+JoQMzCbHSkSu6tY4J6dTUrrCeXnYUZhWFOyQYQNVayeSZt40uxO0QhRCGwlQ1UsZ1mOqpjuFqe5BtYM8yk8QfEU/wB2NvlpQbeMpIyoWSSUXnLJ+qfwoDZONW85lXBTBJ7CAOlwmoNphoOKRGWwunSSOKNI7oo3cht4s6YF16XKre6O086PZOXWgSkgnto0m/LThwqwhbR972ieoyufDsetUmTRG6uhXhIpgGGjpiI+80sf5SqvFbPTFsQxHUuD4FukxoQEVqRTc7PYB7eKH/5tOL+KsgrbNgk6NvvH+daWh/YCfjWdDK+6YFWDcTYgde9u8MuHZHtVqVZJy3Ak6jieg61A7vKlqzDGHZPA5PaL/qcn0pJtba2IxBh15aweBMJ/pED4VSAn3u3hOMxntD7knIn7KEzl8Tc956VS9ohTvtCkCJSAJ4G9uelHpkOrJ+yqO6IEfGi93WAUrVlkhUAk2Fr241d8CFuzd2jKVOgwbxVtYwATg8cEDKlLJgctVm/hWuCSt10BIkAADhVrRhkIwWKSvIorS4kmfdlvLY2kjxF6SA46wbVlGtbLt2lGegmvKKGdIxDjZEIbI6lRM+ERUAk8KJSyo3KSByg38qlYwriicqfHl3XqGzegJKRea2GUcD04VPiAE2Wb8IgnxNQsbPddBUgSmftJHqaLJaNTiYuBXntwbqSD329KJawKEKhxYcEaNmb9SYFD45sAgtoI6EhV+6BwotAAHC5tB+ulRuMEWiD0j42kUc6hcdqb34fAfhWNtqvYDqTfwoEJHcMOIHiT+vhWi9lIULLE8ZNqcOYUQVTqYuPnQeJw4GgM8bD4CmQKMRsYC8p8xQSsFOn4eVOjghN9e4GoA2oEkR5CkAsQ+62eyo+N6Z4PedYMOJkcxWxWI9wfKhFMgmIubCL0CGu3sQHGElFwVyP6DHzpGoSUoFptPIAXPkKMnIlTWt8w/lIEHwoTCoKlkDXKqPGn5AQf4oUODJ7gtl/l/HjNFbbbQ4gOj7quYniRzFRL2EsKCswMcNPKaDxyDAmytCnTrNtairKsJ2LiPZWckJgmT4aUuecQsrWsHtGQRqOEelXLC7mftGB/aQ40lQSIblSVECTMwRJgxzjUVVcqG1JzGRAUSnW82sfzq68ybPN38W426lSQSAb2sRofGK6acqgFDQiR3G4rnOM2wgJHsxMmOUd4q07obQLrJSr3kH+03HxoTBjcprRaalNRmnYgVaKjXAuancNRoxamyFtmFAKgiJukpMTaYJ7rGpKFuz8AHsQQ0FKkEmQZtx7tPOs2wx7F3KqxSkEjrVv3Fx7WCS7isQQlWXI2ixUoTJAHUgfGqTjcU5jcQ4uJcdUpUCTAOgHQaVVUheYlcxalqWpapOUDwmw8Ks252BK8OqAe0VX4Dhc1V8c0W1uoNilWU9CLEVb9l7wIw+AaabGZ451LJHZRLissj6yssd0006EF4gIwyIzXI4aq7unWqw/jFOKSkXSZMTYADXzgTXiVuYhxYupRtmJ4n5CrZsfZKGQLJUoCJIkAchRY0hLsrdp9bYUCkSSe3YmTJI6Xgc4msq7Nvzy/XjWUrHQsGNUDIVHxqNeNNxrPMn0rQp4WqRGHkaio4NrBCk1iGyrwo/2fMfHWtCq3SixUehs9k2McBMnTU1Kt8ZYLSdZzSQTQqlm3KsQrXUmpGSuqbVIQ0qeFyY58Ki9hbla08e7n51sHsplIivFKm5vTAGDU6mKkQBEa9fx6Vvm/34+tepHCTTsmiF5KeHjbzgChnWQT2ePSjyjj8hURSP1NNMVCl1k6X7qgVhSLxFPHAJ0jxmhyyDTJaETqNaBYWUuWsSCB33qxOsWn86Q7Vw5Sc3P4GgQHicfiAJzEJmJgaxMaawa9wKc6knVUkqKrwAJM2uB3VMhgOkz9a9vqn86l2mpDTBQnVfZ69TUoO4fsnel1LSsOEoKVFWR02U2O0YSJAi+hIHOq/gmG1qU2oysyUHhIk9rvqXYbsutpOk/DKbUBicGptxSRcg2VzHA1XAjfaGzVoM+zyibwcw8OIHfTrdfE+ydGawWch6WkHzAHjUeC2gsAJcGYaZhr4jjQ+11gqhNo9fygUrHR0ArHNPmB/mgmvCKomH3jy2cBnmOPWmDW8LZ+uB329aYi0jZ7y/4bS1dyTRDO6GLXqgIH8yh6JmqivbzYHvJ86AxO3pskFX660DsvGJ3UYaviMSjuCgkeQJVUbe9mBwiYYb9oroMiT3qIzfCubYrGOK1EVG00TdWnWmIYbWf9o64vT2ji1xyzqKoH9VTnDSpEmybxzOgoNm6p4DSj2gSZNDYD3ZrqUiBY86cMvGq2yginGFJFIoatqkVlDtqEcaynRNmsEGtgT3d1TgjjW6X510rM6KA1DrWNj/appvbnWrq4Ok8KVhR5I5V7I5VqT4V5F7UCNj0ioiO6pxKjAGvDSt1JyiOnCgAYAc6kTbrXiUkXtasdWCZt3D8KLCjea1IHDxrRxPl1rxI/moEbFQHXwrUkDnWyTEixm2k/Hga0KeFNMTRqogxPLhFB4vDoWClWh8/96YNs/r8vGoXGgrw5U7FRSHUKZWQDImx599M8Fj2iIcbB/mHvjoc3ZUnoYPWnON2Nn94FJI5RNtaS4ndhQ9xQ7j+NUpENDVLGEy5kpQFgHKQXGzMWJTBSfAil2RouZ3gogJsBAkyIzKNgNaAXsjEp0RPcQaHXhH/+Wr4U27diSpBeNxgJkBIP1QkQEjpNyeppK85NFf4c8dRFTs7IULkHyqWwFH7MSZNS/wCHGnYwXSpkYQwYmONHIUV4YBXI1IMMpPD4U+Vhz+jUgSQIgcbm/drQFFf9konUipm8JzJNOA1zAPgKmbw4n3YFA6F7LAo5loEWopGFBsJvRaMBysSdIIoCgjDtJUmZAUIsRr41NGlvCtEJNgR6/CjWUpNj6mfOhDZE33CsrxTRBI18KymSeo4d9efa7z86ysrM6WSLOleNaCsrKBGrlStpEKtwPqKysoAhTr+ulTta/rlWVlAGs3qJ8adw9VVlZSEao1PcaxsX/XMVlZQIxR7Q/XCtnvl86yspgQpPaHdRKuHf86ysoEYFEzJ0AimGAE+zm9x6isrKBA7yRnNuXzrGUiTbn86ysqhvsCvJHL9RQyxGn6vWVlMlkC0DkNaGKRWVlAiIj1FSMi9eVlAHoFSrFh+uVe1lAImYTby9TRWFUbCbSfUVlZQUEkW8K8wt8wN7/wCo1lZQJngP68aysrKo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10" name="AutoShape 10" descr="data:image/jpeg;base64,/9j/4AAQSkZJRgABAQAAAQABAAD/2wCEAAkGBxQTEhUUEhQWFhUXGBUXFxgYGBgXGRgcGBUWFhcYFxgYHCggHBwlHRQXITEhJSkrLi4uFx8zODMsNygtLisBCgoKDg0OGxAQGywkICQsLCwsLCwsLCwsLCwsLS8sLCwsLDcsLCwsLCwsLCwsLCwsLCwsLCwsLCwsLCwsLCwsLP/AABEIAMIBBAMBIgACEQEDEQH/xAAcAAACAgMBAQAAAAAAAAAAAAAEBQMGAAIHAQj/xABGEAABAwIDBQUEBwYEBQUBAAABAgMRACEEEjEFBkFRYSJxgZGxEzKhwQdCUnLR4fAUIzNikqIVssLxQ1OCk9IWJERzgzT/xAAaAQADAQEBAQAAAAAAAAAAAAAAAQIDBAUG/8QAMhEAAgIBAwIEBAQGAwAAAAAAAAECEQMEEiEFMRNBUYEicZHBMmGh8BQjcrHh8RUzQv/aAAwDAQACEQMRAD8A6OBNe1xXBbYxLX8N1xI5ZiR/SZFPcHv7iUe+G1jqCk+aTHwrldnTwdMr2apTH0kMW9qhSOoKVDwEgnwFeK38LxyYZDaD/wAzEr9mnvSkSpXdalyHBdlVo24CbKB7jNc13uWEhv8AaMct5anGSpluEtFsqlwBCJUezIBJ7qM9vsdMZsO6yNAstPtjwVM0UKy/uAGxrwiBXPN1XmnGEZtpOMvZnApJeQQQHFBHZdB1SEmxGtWhGHxgH7rFMPD+dsif+ppVvKk3XmMdsuGps1JMLisWDDuHa6qbekeS0g009uB1rhy9R0+L8U17clxxSl2RPFYJpXjNuNNe+42j7yhPlM1Xdo/SHhUWC1LPJA+aiK5f+VnP/oxSl+hp4FfiaRb8S2oxHxrZBjj8a5hivpMJ/hME9Vk+gt8aUv8A0h42ZSG09yZ9SaL6pk7RjH5ktYY+dnWnji85Uj2KkAe6VKSddSqDHlHWnCcEsgTExcToe/jXGcPvfinUhZdUI94JASCDY6Dr6VaN1sUp5Kmzin0OJgoh05VpPLNPaB+EV6WnwarZ/Mkr/I5ZzjfBcXcA9mJyyOFxf40v2xgXFNrGVQVEpMGyk9pB8CBWuzf2hLmR3FvwfdUAyodJCmpjxp26xjkK7DzTiYJ7bcK6DsrSK6liyLuT4iEeFxntG0LEjOkGOIMXEcwbUfhV9+goJ/ep5CsmIwiCeiiCe4KSR/dU2G3jwi9Wnmj90KH9hV6Vfg5KugWWPYrP0lP5SzHvQ4J6HLIqlMYgpJM3M3CiOYg/rjXR97tgoxpQcPiWs6AoezcVkUc0cInhyqg7W3dxWFMvNKCR9cAqR/UmQPGK5MsJ7uxLpskRiDGpP41il8QqFAjw4jjfTSlocAvJ0E9L/GeletvZiI1E/kT51j4bTJOnbp76urcDTxSf3ZhR7JKkiZUrTQEmwobevaGNTmDik+z0BTAHavlTaSbRPyqhIK82RBMrsmI1VYiY6fHWn+3H3g8kYgFZaCAvtFIMACZjkdT+NdeOTlHkTZ0fcnaocZSghQUAfekmBHGBzp/jcSG21rVohKlHuAJPpXL9lb0FLiWUJQnMsJLmZUxYABRBgQBw8K6BtVbS8Mv24lASVKSDchJPdYx01it8ck1w+w0+DkW/W8X7W6gwpLeWyFHjoqw0M28KqzaYPEdw9aOKWluLPaAOYoQLk8EhSjadO/pwcbG2Th3HmQnEg5pCgU8hcDSZOhjiK5lFzndhdCPBYN50obaSO1AusAqJUZ948DMxTo7uYoYkpa/cns5ipfZBUm+WLKhKgTEkXpztTYycO3iFsYhCClSUOH+GtLa1JKomL9k6TIkUDhNmOKQHEY0KccUQ2oLcLjohSVoKVC4yoERxJB0rsjFLgls9GyMG0PZvrKnElQUUJK0+8owlQItfvmayr9hN0E+zRkedR2RIKUkyLH+IkkaRE2ivaqoeg6ZwZTijxqMtzRJRWrTZWtKE6qISB1JAHrXO3StnQAA5SSOPQHTvBrY4mbEwOeg/GauGztzXACvFKSyJN1qSgEc7SfCE1tiXtksgpU4p88Q2ggH/APRV/JUVwy6hjb2wTl8l9+xqsTXd0V/YmzsS4pKsOys6dpIKPH2hIE1dNm7k4lSvaYh1OY/bnEqHd7WwPW9KXN/vYsgYRhLaZAGdZWRbU/o0jxm8uKxHv4lUH6qIQPIVzTjrssvgrHH8+X90O8ce/J0TF7KwLRCsW97VQ09suQOiWkQANNBQLu/uCYGTDNyOTaA2nx/2rm37ODc37zPrW60RSXSFN3nySl+iD+Ir8KL3szfp7EYlppLSUIWsAzJVFybzyHKrXvE+UYV9YMEIMHkTCR8TXO/o8w+bGpP2ELV8An/VV336cjAvdcg/vB+VeTrtPix63FixxpcX9Trw5JPE5NnH0NlUFRJJ1kmpm8OOUV7hxpRqU19dwux5vcGDNaKao9QtUJFAHuylhKik6EH8/hfwFOME8W1g3lsk21KeMc418Kr51kcL07wzuZIWn3kRbmNI/wBNbY35Gc0dWwO1x7HOgpUpuCpJ4pP1k9LAkcxVo2ftNDyM6DwvzBiuNbHxYQeJQIIPHIeHWLg9U1fMEprDBDiCS2swDNoN4PUVpRluoZ7S2KcQgKz5XEkiTcGDInl4VvgcOpw5cRhwlYjK4kC576bYYoUkxaQLzqIsa1wDpTCVzJJgzMxVbpVQvhsHXs5MELbQsjjAAI5FJtQODaQArIVtx7yUmUjmchlMf9NWQih8I0Ekxxv1qVK07Kapo45vC1hl4haFt+ydSo9tsAA6/wARsSP+pJ43B4VVttQJSvPIMLiw4TeNDwtxFdj323QS/mfZEYhMKH88WII5kenWuWY7F+2SG1yl1Fgb9sX7JEa8u7KeEc08fmimT7tbO9o6oDKShIWgKXYkEAjmTMRGnWttvYolV1rUoznkAgKIkpCo4C1joKA2Ht5eGdS+htJKQUiZPeQJsY8OlENYxDr6nFBaErWpWXNISVGVKsNIMDurP/xV8kstez9yHHcM06yrK9CSQ4YEhRgpIFrBOvW9N95gcEwtCgXi+CCVKMkwJKiJJAjQQOYqws704ZLafaOozezzqCTNgJMDWY4a1Vsb9JOHcCk4ciEpjMsXvaBmETpxOl6tqEEawx73wUP/ANPOttB9xISkrASFGCo+9GVQ6Xm1+VE4N1pId/aVTMLyjOjOq5UCUi14vbSwpjtjeJFlLV7RcEpuF5bTeDAuapC3VuqJuQeJt4A1yRfxfCvqXlxKHF2xngdthp9t5ScyUKzBsKKdLiTFxMaza1WXYWKw20cRLqENlLn7sJX7MqzFxxKTe8HsyLxFc9fZWE3FjPyj0qbCY5xtTa0iC3dJ53k3866YSa5bMtp2xO0MciUOslRSYCkuKAKYBHuCJvBOtqyufYzb2JxSy6XkoskBKVJSAAkcCqTrrXtaePA08GRSFrVzqwfR3h82NC1aMoceP/SIHxUKrLh61bdx05MLtB7kyUA8pSon5eVcWunWCVedL6ujXGrkU/H45by1LWpSiST2iTEmQBPChorUKqRKriuqKUVSRk227YQ6j92fvAeST+NCAUbiFfux98n5fKhU02xEjeJUNDUn+IHiAagqF0ikgOj/AESqzuvriMraE/1KJ/0VY/pIXGBUOak/C9IfofT+5xCua0jyRPzpt9Jiv/Zj73yr5TUvd1aP5Nf2PTxqtMc6Yo1AoJii0qr6s842cNeNtFWnpNRlyTRze8S2G0IZUUKUSStJANrXMTcg8eVUhWCKwp4g+VS4FWQjlofG3wMVOd88VJBxTnis/OoHNse2P71SST9cBIVpHaIjMO+4+FVFqxMYtOltduElPcffT4GD4mrButvY17JeGxKSEkwiO1l6HjY6a6Cqy3iUuIUAf3jYC+8AQuPA0vxSIKXBoqx6H9fOtpvi0Y1fDO57t41BBQFhQ+qQZm0iPWmGPUSnMkkKRcciONcO2bth1hYW0qOfEHjcfOuo7E3vbfQkLhCiOJsToQD15GlHJyZyg0i2jFFTQcRcgXHqKhb2gklHCfK/Dzqv7P2kEPqZV2UrTAPCbhJ+XhRDjJS4lK7JmLdYm9bxgvMylOXDQ33hLqEB1hOZbZJKftpPvJ7+I6gVyvfLBBxKcdh0gtuWdRxbc1UDyn1jnfpm3sU4zhlLT2gjW05kRefn41RMJtnDjM2lxQYfC/aJUkShShJUMusSkzqfCudo6HKzngazhSkG4uRPWyhz1v1olK4y6kzc34cBRu1NlLwjuUwQPdWnRYNxPelQ8+lLsW2QZExEpMiYPoeFceaDQLkHxSfaTaeHEE8Zg/q1eJ2PwBKtTGg089a9OMyJy2OhJ4x33rMJtAzeY5CwN+dTFtJmitECcOSg5TASSDNh+dEoQAmCq44T+oonFtlwApSEiZCSoC560M5gV+6CBOslMSBzBk0WVRHMxmSYN9T3V48W0jKkT38PLWt8RhFrUO0kiBcE/OpntmqSCVHL6Duih0AuCAeEcvWso9vAW98D9a1lVaKsQOGrfsTs7GxquKlEeAbSPUmqY64OYq77OYUvYb2QE9pSiBrGcJsBrpXJr/wQ/qj/AHOjB3fyZzoOGpWl3HeKxOBc4Nr/AKVH5VKjZz0/wnf+2v8ACu7dH1Ofa/Q3xDnYT3qPxFQB4UUrZD6kiGXeP/DX/wCNeJ3exR0w7/gy6fRFDlH1QUwUuVEo00b3WxZ/+M//ANl35oohG52MP/x3v+2oeoqfFxrvJfVBtfoX36JURg3DzeV8G2h8zU/0nr/9sPvfI/hRW4uzV4fCBDiSlRWpRB1EkAT4JplvNsb9rwqm0xnBBTJgG0EE8JBN6+QnmgupeI3xu7nrqLWnrzo5E0uKlU9ami9y8an/AICj3KQfRVA4ndvFpEHDveDalf5Zr6yOpwy7TX1R5eyS8gJDvlQb+snS8ec/OinNmvJ95txP3m1p9RXiHVo4wDqDcHvBEVruTXBNeoseXJmtZpi6lKr5Eg8cpgd8SRQ2Iw4SNInn+VPkTQfsl0hQc4ELQf6LT4EeVP8AGsALWj6qu0npOnxt3VV8GCEnjcafdV061YcU7nb/AJken+9dMO1GckR4cSMvEGL03wIhIBsROnfNVtx8yFp14/rrWydou8FK8h+FYtcjq+xbf2p0HWRbv46edP8A/wBQhwJzkpdAAJuM0aTwJ61zxO0cRzV/SPwqYY54GFOQeUAm/QCtYZnExlg3HfNn41OIY7ZBSoFCokcPDnwrlG+O6zmEJUjttEgAgHM3rAP48ary95cS0goaWqCZiECDzHZMHuion96Me8MqnjERd2O4xTc4sPDl5sb7K2sVpGHxABSpKg0pQmCcxSk9MxIHETbjIj2EJT7JYAJOZJkEA/e4pUIHkaShp1VlezN9S4O+LCakW88UjsJ7PZmQEiSYlWkdTwqGrVFKLRjikplKxEDtW16AnS3SsZbKh2CAkcctxxjNrWu0cQFSpSUmYzL7V1RHuj14m/KhUuhVgsAfZhRHmYrkcHE0SYfiHCIyHokTN4mw1qQYVwXAlRuReOpM0HhXAg2UJMXKLetFDFEiMxEz1sO6/GokpIpI2Vs1ROckpQBeAZkawBeNL6XqbEqcC0t5VSQYkwCD3moHscrgo3tbXiLknrFYjEWiVaRGojlE1PxBQxwmzXSkH2SFdSR3V7SpT6+CVQLCxFhWVOyZVRKo4k8a619Hb5RgkZTqXJ/rNcvdJj6t66RuEqcEjopwf3n8a5usK9P7r7nboq8T2LenaC+dYcevnQFemvltibPVaXoMk45f2qkTjV/aNLQqts9ZvGg2oZDGL+16VHidplAuVGeQoRK69cvwmkscU+UJxRKxi0rkCQUmFAiIrxG0gDZDhH2g2pSfMUp2SSHMRyLlv6UzRqsGvVt/KORSkx3GK3lixxk0+37+YrbiN0YqROvdUwxI50qYBCQFKzG8mIm5OnjUoVXJLGr4HsT7jNLx4Go3IOoB7wDQSVVt7U1Ki12YniRq9sxlfvMNK720H1FJts7qYVxBCWUNngUJCCO7Lanvt60LoNb49Rng7Un9Q8GL7pFawu5WGQi6SpWklSuNrAGONPRubgzfIoHSy1fO1ErUIF/rI/zCj0rrXJ1DVJJrJJd/M556fG3SQvwn0ebPOiXJ/wDtWJ8jTNjcXAC37OD95S1eqq3ad60wYxnBV+tb4usZZNLLJ/M48mn29itb27jsrYy4Rpllc3UGxmUCkjLmAzD8qY7B3Zbbabb/AGVg5EpSXHEJK1kCFKPZ1Jk605RtZAcLYBWoAEhIFs3uySQJMfqaPGK+0hYHOAfgkk/CvpdJhyZY73N7fJf5OWUklVArWxMPH8FnwbQPlWuL2Y2lBLTDKlgdkKASknkSEmPI0Z+1JV7pCuf58qgRtBE3kVWbVafFNY8jSfq/2yVGT5Rjuymin+GgHolP4VV9s7rYd9aFOIgp+zKQYMiRoYN6uiHQdCDXpAPLyrHV6BZ5LLgybX+XZlQybeGiljZDaUlJQlQ4hSUme+1U/bn0etuZlMFDS5MJghBECx1ymZuLaWrp+JcR9YeIkfA0A8lHA+dfMR1GfSZG4ZFL9+j+x3JxyL4kcLd3ceQstuggjhlBsTYixt1oprd9wTNtPeAAPgBmrrOOwudMHwPL8qrjysilIXYpiR6HuPOvoNL1V6jtw/QxnptvmVRvdtQ99SOEw3m14duI8qYYbYDYPaUtQnQqgeSAI8zROI2gDZMnTQTUAW+v3GzHUV6EXlmZ1BDXD7LwwH/87Jv9ZtKj5qBNZS5vBYiL5h4xWVXg5PUN0fQ5KtSuJPnVy3MwLjrBLeJU0UrUkpiRcBWaZ45oiPq1VlJq8bAWhDDYEiUyepNybfq1b5sTyw2p0/lZEJqDthZ2fjk+7iUK7x+RrdhWOCkheRSJGYjKDE3PP4VO3iDwV8/Wi8JigTC0+KZEd94rys2hzxi2oxl7UzrhqMbfdr3D81ZnqZWDTMZ1A9SD61r+wn6rgPePwNfOPanTPTPErqZjEFM8ZqI4N0aBJ8SK8Laxq2rwg1LSfmMmTATCRF5nUk2/AV6kIzleU5iADCjFumlDKfgXCh3g1sjEJPEedFSBJBOblXuaogoV7NZtFk4VXuaoZr0GpoZMVVrNaTXoNFAaPqsPvI/zCiEukaE0M+LD7yf8wqUGqkrivcmuQlOJVU7eO5iku1NoJYaU4oSBAjqbUPsTbiMQVJEBSQCYMiD+vjR/CyljeSuF5kS23TI9vYp1GKL+HmzaM44HtKR8xRuF3/KYS8VJPEKBNuYIF6E25bN1ZV/a60R6mlWz9oZkeyWQADMm5yjl519l0zPWkgvRfc8PUwSzNFlxe+jEAodJUOSFA+cCgsNv4jNDqTlP1xqO9MX7xUuydp4Zs9tao4AJseUzfidTypvgVMvuSAhTJC0ezWnTsZitVtLECDxrp1Olw6zHtypfde5jGcscuAljayYC21gpNwQdaMb2+eBmuZYpwYR4paM4d0yEk/wlExfUx+XKmmGxawdE+Z/Cvk8/T8ulnUJuvLmj1sTxZo21yXte8BP1UmgMTtQnRKY7q5btLfrENuLb9g2kpJF1KV3Eaai/jSnF7840iykI+6gE/wB010rpeszczkvdmfjaeD4R1h7aCj07qQ7UUHCAVSoAwJEkam3K1UAYzEPtZy+oqKygICiFGBOaBAAuBwm/KpN32Fs4ltStSYN79oEfOu/S9HeCSm5dvQzyauM1tSLugKSIMpHDsTRTDgiM6/BB/wDP5VB7ZepS55K/8K8LxntZgOsp9Yr3EjiD2yg6lXl+deUCMYOCx/UKymBz3/Dkn6tWPZ2HhtAtYcKds7DB4eZAofaDHslFI5SKqqB9iqY3eANrKQgqgkSDe3SnWyceFwpJMGRfUGDY1UHEiVKJ0/G/rTHYT2RzLwWB+KT6jxoTIaOj4XEe0bB+siEnqPqH1HgKkpVshK0rmOyoZVdxi/gQD4UxUqvmeq6Gay+JBcPv8z1tHqFs2yfYIS4RoamRiVc6CCq3SuvDlD1R3p2HnFGDpoa9zNnVAPgKCJsajZxBIBKTcDQg/n8KlYuLQ+A79lZP1Y7pHpWf4cj6q1j/AKp9aiSut81S968x0e/4evg4D3j8K1OFdH2D4kVuF9akS8edLdL5+wUwUpcGrZ8CDWpfjVKh3g0Rh9qpUspkCLTzpwwylWqu/SB1r1MPStVlju2L6nJLW4ourK27ikkDtD3kf5hRKVg8act4Bh8Rmkz9kcLzp3VOdzm1XCh5EeivlW0+i6lRXH6r/BK6hivkrzzSVpKVgKSRBBEg0PszZbLE+yQE5tTqTGgk8L1YXtznB7jnxn1AoNzd/Fp4BXl8jXNLQauEXGnXp/qzVarDJ3Yj2/7p/wDreH9oV/opFsJppTn71BWkciRHGYGumnSnW8eGxCWxmZVGYpkJUfeQtNgASdZ04VWHHm0faQqxgrSIjT3gDx4ivd6dhnHTpSXKbPK1kk826JeNkbFw2IU5lUWssRkCSCL3IUmQeGtJXMA+h72TKVZFLUgAhMq1BJi0QPKkDG9ZZczhQk6ELR6ZTTXY/wBJi2SskF0rJJBUSJPEBCJHhXqxjHakcnxWwvfBlpkpZdaCXMgK1IJVck5Yk2NvjQey8RKYJkpsTzGqVeIihtt7wuY9QUMMpNspyh05hJIkqSdJN+ta4TBYpKswwzmXKEmBJsSQbwTryrh1+n8WHwrlHVpsuyfIPvfh2k5X1trWTCFZVBOk5Sqx7vAVWHdqJiEYZsfeJWfwq54vFyChbLhkQUFtz0y0uw27Kl/w8E+vvOUeajU6HNkhi2Ti+C88ISnuUlyVbZOPIWrKIKhYJHET+vAVa90dhpU4C9JcUpAa7UBJCpUVE20EQKf7K+j1+ZKGsOOJ/iL+Nh8at2yt2mcMc13HPtrMkfdGg8Ir0I75eVfM5m4R87Ys2xsP2aiUkgcRr+hQDTZGivJUVY9r4oAHNYVTHtoNAntR5/KtpRM4seIn7X935VlLcOc6QpBCknQg2NZUlEbzylamfIelQP4UrHI8OPnW4QBqanbcSOfjSZdHOH2BmWM4SsZhlVPavGURxMVriG1tOKCklJSUkSCPqiLHpBpjvdhAl0rTPaAUAPtTc/CfGgNpvrWc6l5s2aRaxT7PoPtHyNCZDLYhwkBaSRIBEdanb2k4njPf+NVrZW3UIQG3ARGitRHWnTD7bnuLBp3Qhs3tofXR4i9GsbQZV9aO+3rSIsGolNdKznix5PxxT9i4zlHsy5MMZoyqHjYdSSOFD4Qy2ki4IEHnyNVRlwpNiQCCCAToRBtVq2ZiWMiUN4iIAADqR6iBXj67pakk9PH58ndptY0/5jNkLi3f61IldD4fehA7DiJAJEphQsYnhamOHxuDc4pSTw9z4aVhLoUmk4yVmi6hG+UQpXQ+1cXkRb3lWHzP6507TsdKroc84UPMVUd4GHUOw4IA92NCOYrLT9HyxzLxF8KKy66Dxva+QRoxpTMbTUGyFKhNpJMCBzNLG6V7Z23+zxABc95IVcN8if5q+ms8ii3bu7aS3mPaOnAjiftRNW3Z+9rX1ipPePwrg7u/2KUqXMi/vBXqFUbhN+/+Zhz3oV8lD51pGRLR9G4PbLLnuuJ7pE/GmAM1wPZm82FeIAXkUbZXBlPcDJST41ZP8UdZAyLVmNkpzWJ6/wAo1JquBdjp7RzOKPBMIHeQFK9UjwNTPYdC7LSlXeAfWqBsnel1pASqHDJJUZBJJkn425CBThnfZv67ah3EGkOx0dh4bX2DX9CfwqRGBYTo22O5IpUN68Mse+Un+YEfEUpxu3mh/wAUedTLgEy3hTSdMo7hWwxKOYrm+I3uaToVK7hS5/fg/UR5n8KnehnWjiEcxUTuPbAua4vid8cSrQhPcKS4zazznvOLPiarcgOwbW3vwzQIKxPIX9KrS96FvpcU1kbQgdpx0wO4QDJ4fCqTtbd/EMMh54JbzlIQlSh7RRVxCBwGpmIpNvBtQJSlhsn2bYk395QEqUesk+daKXBKigra23luKMqK+psn9fqaEcwq1YZzFSlbbSkJUJi61BIgAXAJE94qlYvHLWdSBwA0q0bDWs7OxSSezlSqPuuAfP4VDbKpBey95ltoypsCZi1rAfKsqvMm1ZUDs6W8VDgb8qEcUoWuKnvWzLsH/afjSNRJtRtRGYkkp06VXnXoBAOqio1fDJJnj+tNKU4zZDKjdEHmJHwFBFFJdcFaNLUPdJHdVxRu439UGeA/3rdzYgRZQg8qTDaIcFt99GvaHWnWF3qSf4iYoN3AwdLdKhxGHTwRHOgRZ2cWy57qhW4wsixmqOvCqGkj4VKxtN5vRRPfTAuBaI4VoU0pwm9XBxPjr0+VNsPtRlzQxSTAmwz60GULUnuJFNRt55acjuVxP8wuO5QgigEtg3SQa2SimmI2WsAEkQkAqPGybx6VzbauIU66SblR0HM6D5eFXzb7uXDr6lKf9R+FU7ZTES4dTMdB+JoQMzCbHSkSu6tY4J6dTUrrCeXnYUZhWFOyQYQNVayeSZt40uxO0QhRCGwlQ1UsZ1mOqpjuFqe5BtYM8yk8QfEU/wB2NvlpQbeMpIyoWSSUXnLJ+qfwoDZONW85lXBTBJ7CAOlwmoNphoOKRGWwunSSOKNI7oo3cht4s6YF16XKre6O086PZOXWgSkgnto0m/LThwqwhbR972ieoyufDsetUmTRG6uhXhIpgGGjpiI+80sf5SqvFbPTFsQxHUuD4FukxoQEVqRTc7PYB7eKH/5tOL+KsgrbNgk6NvvH+daWh/YCfjWdDK+6YFWDcTYgde9u8MuHZHtVqVZJy3Ak6jieg61A7vKlqzDGHZPA5PaL/qcn0pJtba2IxBh15aweBMJ/pED4VSAn3u3hOMxntD7knIn7KEzl8Tc956VS9ohTvtCkCJSAJ4G9uelHpkOrJ+yqO6IEfGi93WAUrVlkhUAk2Fr241d8CFuzd2jKVOgwbxVtYwATg8cEDKlLJgctVm/hWuCSt10BIkAADhVrRhkIwWKSvIorS4kmfdlvLY2kjxF6SA46wbVlGtbLt2lGegmvKKGdIxDjZEIbI6lRM+ERUAk8KJSyo3KSByg38qlYwriicqfHl3XqGzegJKRea2GUcD04VPiAE2Wb8IgnxNQsbPddBUgSmftJHqaLJaNTiYuBXntwbqSD329KJawKEKhxYcEaNmb9SYFD45sAgtoI6EhV+6BwotAAHC5tB+ulRuMEWiD0j42kUc6hcdqb34fAfhWNtqvYDqTfwoEJHcMOIHiT+vhWi9lIULLE8ZNqcOYUQVTqYuPnQeJw4GgM8bD4CmQKMRsYC8p8xQSsFOn4eVOjghN9e4GoA2oEkR5CkAsQ+62eyo+N6Z4PedYMOJkcxWxWI9wfKhFMgmIubCL0CGu3sQHGElFwVyP6DHzpGoSUoFptPIAXPkKMnIlTWt8w/lIEHwoTCoKlkDXKqPGn5AQf4oUODJ7gtl/l/HjNFbbbQ4gOj7quYniRzFRL2EsKCswMcNPKaDxyDAmytCnTrNtairKsJ2LiPZWckJgmT4aUuecQsrWsHtGQRqOEelXLC7mftGB/aQ40lQSIblSVECTMwRJgxzjUVVcqG1JzGRAUSnW82sfzq68ybPN38W426lSQSAb2sRofGK6acqgFDQiR3G4rnOM2wgJHsxMmOUd4q07obQLrJSr3kH+03HxoTBjcprRaalNRmnYgVaKjXAuancNRoxamyFtmFAKgiJukpMTaYJ7rGpKFuz8AHsQQ0FKkEmQZtx7tPOs2wx7F3KqxSkEjrVv3Fx7WCS7isQQlWXI2ixUoTJAHUgfGqTjcU5jcQ4uJcdUpUCTAOgHQaVVUheYlcxalqWpapOUDwmw8Ks252BK8OqAe0VX4Dhc1V8c0W1uoNilWU9CLEVb9l7wIw+AaabGZ451LJHZRLissj6yssd0006EF4gIwyIzXI4aq7unWqw/jFOKSkXSZMTYADXzgTXiVuYhxYupRtmJ4n5CrZsfZKGQLJUoCJIkAchRY0hLsrdp9bYUCkSSe3YmTJI6Xgc4msq7Nvzy/XjWUrHQsGNUDIVHxqNeNNxrPMn0rQp4WqRGHkaio4NrBCk1iGyrwo/2fMfHWtCq3SixUehs9k2McBMnTU1Kt8ZYLSdZzSQTQqlm3KsQrXUmpGSuqbVIQ0qeFyY58Ki9hbla08e7n51sHsplIivFKm5vTAGDU6mKkQBEa9fx6Vvm/34+tepHCTTsmiF5KeHjbzgChnWQT2ePSjyjj8hURSP1NNMVCl1k6X7qgVhSLxFPHAJ0jxmhyyDTJaETqNaBYWUuWsSCB33qxOsWn86Q7Vw5Sc3P4GgQHicfiAJzEJmJgaxMaawa9wKc6knVUkqKrwAJM2uB3VMhgOkz9a9vqn86l2mpDTBQnVfZ69TUoO4fsnel1LSsOEoKVFWR02U2O0YSJAi+hIHOq/gmG1qU2oysyUHhIk9rvqXYbsutpOk/DKbUBicGptxSRcg2VzHA1XAjfaGzVoM+zyibwcw8OIHfTrdfE+ydGawWch6WkHzAHjUeC2gsAJcGYaZhr4jjQ+11gqhNo9fygUrHR0ArHNPmB/mgmvCKomH3jy2cBnmOPWmDW8LZ+uB329aYi0jZ7y/4bS1dyTRDO6GLXqgIH8yh6JmqivbzYHvJ86AxO3pskFX660DsvGJ3UYaviMSjuCgkeQJVUbe9mBwiYYb9oroMiT3qIzfCubYrGOK1EVG00TdWnWmIYbWf9o64vT2ji1xyzqKoH9VTnDSpEmybxzOgoNm6p4DSj2gSZNDYD3ZrqUiBY86cMvGq2yginGFJFIoatqkVlDtqEcaynRNmsEGtgT3d1TgjjW6X510rM6KA1DrWNj/appvbnWrq4Ok8KVhR5I5V7I5VqT4V5F7UCNj0ioiO6pxKjAGvDSt1JyiOnCgAYAc6kTbrXiUkXtasdWCZt3D8KLCjea1IHDxrRxPl1rxI/moEbFQHXwrUkDnWyTEixm2k/Hga0KeFNMTRqogxPLhFB4vDoWClWh8/96YNs/r8vGoXGgrw5U7FRSHUKZWQDImx599M8Fj2iIcbB/mHvjoc3ZUnoYPWnON2Nn94FJI5RNtaS4ndhQ9xQ7j+NUpENDVLGEy5kpQFgHKQXGzMWJTBSfAil2RouZ3gogJsBAkyIzKNgNaAXsjEp0RPcQaHXhH/+Wr4U27diSpBeNxgJkBIP1QkQEjpNyeppK85NFf4c8dRFTs7IULkHyqWwFH7MSZNS/wCHGnYwXSpkYQwYmONHIUV4YBXI1IMMpPD4U+Vhz+jUgSQIgcbm/drQFFf9konUipm8JzJNOA1zAPgKmbw4n3YFA6F7LAo5loEWopGFBsJvRaMBysSdIIoCgjDtJUmZAUIsRr41NGlvCtEJNgR6/CjWUpNj6mfOhDZE33CsrxTRBI18KymSeo4d9efa7z86ysrM6WSLOleNaCsrKBGrlStpEKtwPqKysoAhTr+ulTta/rlWVlAGs3qJ8adw9VVlZSEao1PcaxsX/XMVlZQIxR7Q/XCtnvl86yspgQpPaHdRKuHf86ysoEYFEzJ0AimGAE+zm9x6isrKBA7yRnNuXzrGUiTbn86ysqhvsCvJHL9RQyxGn6vWVlMlkC0DkNaGKRWVlAiIj1FSMi9eVlAHoFSrFh+uVe1lAImYTby9TRWFUbCbSfUVlZQUEkW8K8wt8wN7/wCo1lZQJngP68aysrKok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12" name="AutoShape 12" descr="data:image/jpeg;base64,/9j/4AAQSkZJRgABAQAAAQABAAD/2wCEAAkGBxQTEhUUEhQWFhUXGBUXFxgYGBgXGRgcGBUWFhcYFxgYHCggHBwlHRQXITEhJSkrLi4uFx8zODMsNygtLisBCgoKDg0OGxAQGywkICQsLCwsLCwsLCwsLCwsLS8sLCwsLDcsLCwsLCwsLCwsLCwsLCwsLCwsLCwsLCwsLCwsLP/AABEIAMIBBAMBIgACEQEDEQH/xAAcAAACAgMBAQAAAAAAAAAAAAAEBQMGAAIHAQj/xABGEAABAwIDBQUEBwYEBQUBAAABAgMRACEEEjEFBkFRYSJxgZGxEzKhwQdCUnLR4fAUIzNikqIVssLxQ1OCk9IWJERzgzT/xAAaAQADAQEBAQAAAAAAAAAAAAAAAQIDBAUG/8QAMhEAAgIBAwIEBAQGAwAAAAAAAAECEQMEEiEFMRNBUYEicZHBMmGh8BQjcrHh8RUzQv/aAAwDAQACEQMRAD8A6OBNe1xXBbYxLX8N1xI5ZiR/SZFPcHv7iUe+G1jqCk+aTHwrldnTwdMr2apTH0kMW9qhSOoKVDwEgnwFeK38LxyYZDaD/wAzEr9mnvSkSpXdalyHBdlVo24CbKB7jNc13uWEhv8AaMct5anGSpluEtFsqlwBCJUezIBJ7qM9vsdMZsO6yNAstPtjwVM0UKy/uAGxrwiBXPN1XmnGEZtpOMvZnApJeQQQHFBHZdB1SEmxGtWhGHxgH7rFMPD+dsif+ppVvKk3XmMdsuGps1JMLisWDDuHa6qbekeS0g009uB1rhy9R0+L8U17clxxSl2RPFYJpXjNuNNe+42j7yhPlM1Xdo/SHhUWC1LPJA+aiK5f+VnP/oxSl+hp4FfiaRb8S2oxHxrZBjj8a5hivpMJ/hME9Vk+gt8aUv8A0h42ZSG09yZ9SaL6pk7RjH5ktYY+dnWnji85Uj2KkAe6VKSddSqDHlHWnCcEsgTExcToe/jXGcPvfinUhZdUI94JASCDY6Dr6VaN1sUp5Kmzin0OJgoh05VpPLNPaB+EV6WnwarZ/Mkr/I5ZzjfBcXcA9mJyyOFxf40v2xgXFNrGVQVEpMGyk9pB8CBWuzf2hLmR3FvwfdUAyodJCmpjxp26xjkK7DzTiYJ7bcK6DsrSK6liyLuT4iEeFxntG0LEjOkGOIMXEcwbUfhV9+goJ/ep5CsmIwiCeiiCe4KSR/dU2G3jwi9Wnmj90KH9hV6Vfg5KugWWPYrP0lP5SzHvQ4J6HLIqlMYgpJM3M3CiOYg/rjXR97tgoxpQcPiWs6AoezcVkUc0cInhyqg7W3dxWFMvNKCR9cAqR/UmQPGK5MsJ7uxLpskRiDGpP41il8QqFAjw4jjfTSlocAvJ0E9L/GeletvZiI1E/kT51j4bTJOnbp76urcDTxSf3ZhR7JKkiZUrTQEmwobevaGNTmDik+z0BTAHavlTaSbRPyqhIK82RBMrsmI1VYiY6fHWn+3H3g8kYgFZaCAvtFIMACZjkdT+NdeOTlHkTZ0fcnaocZSghQUAfekmBHGBzp/jcSG21rVohKlHuAJPpXL9lb0FLiWUJQnMsJLmZUxYABRBgQBw8K6BtVbS8Mv24lASVKSDchJPdYx01it8ck1w+w0+DkW/W8X7W6gwpLeWyFHjoqw0M28KqzaYPEdw9aOKWluLPaAOYoQLk8EhSjadO/pwcbG2Th3HmQnEg5pCgU8hcDSZOhjiK5lFzndhdCPBYN50obaSO1AusAqJUZ948DMxTo7uYoYkpa/cns5ipfZBUm+WLKhKgTEkXpztTYycO3iFsYhCClSUOH+GtLa1JKomL9k6TIkUDhNmOKQHEY0KccUQ2oLcLjohSVoKVC4yoERxJB0rsjFLgls9GyMG0PZvrKnElQUUJK0+8owlQItfvmayr9hN0E+zRkedR2RIKUkyLH+IkkaRE2ivaqoeg6ZwZTijxqMtzRJRWrTZWtKE6qISB1JAHrXO3StnQAA5SSOPQHTvBrY4mbEwOeg/GauGztzXACvFKSyJN1qSgEc7SfCE1tiXtksgpU4p88Q2ggH/APRV/JUVwy6hjb2wTl8l9+xqsTXd0V/YmzsS4pKsOys6dpIKPH2hIE1dNm7k4lSvaYh1OY/bnEqHd7WwPW9KXN/vYsgYRhLaZAGdZWRbU/o0jxm8uKxHv4lUH6qIQPIVzTjrssvgrHH8+X90O8ce/J0TF7KwLRCsW97VQ09suQOiWkQANNBQLu/uCYGTDNyOTaA2nx/2rm37ODc37zPrW60RSXSFN3nySl+iD+Ir8KL3szfp7EYlppLSUIWsAzJVFybzyHKrXvE+UYV9YMEIMHkTCR8TXO/o8w+bGpP2ELV8An/VV336cjAvdcg/vB+VeTrtPix63FixxpcX9Trw5JPE5NnH0NlUFRJJ1kmpm8OOUV7hxpRqU19dwux5vcGDNaKao9QtUJFAHuylhKik6EH8/hfwFOME8W1g3lsk21KeMc418Kr51kcL07wzuZIWn3kRbmNI/wBNbY35Gc0dWwO1x7HOgpUpuCpJ4pP1k9LAkcxVo2ftNDyM6DwvzBiuNbHxYQeJQIIPHIeHWLg9U1fMEprDBDiCS2swDNoN4PUVpRluoZ7S2KcQgKz5XEkiTcGDInl4VvgcOpw5cRhwlYjK4kC576bYYoUkxaQLzqIsa1wDpTCVzJJgzMxVbpVQvhsHXs5MELbQsjjAAI5FJtQODaQArIVtx7yUmUjmchlMf9NWQih8I0Ekxxv1qVK07Kapo45vC1hl4haFt+ydSo9tsAA6/wARsSP+pJ43B4VVttQJSvPIMLiw4TeNDwtxFdj323QS/mfZEYhMKH88WII5kenWuWY7F+2SG1yl1Fgb9sX7JEa8u7KeEc08fmimT7tbO9o6oDKShIWgKXYkEAjmTMRGnWttvYolV1rUoznkAgKIkpCo4C1joKA2Ht5eGdS+htJKQUiZPeQJsY8OlENYxDr6nFBaErWpWXNISVGVKsNIMDurP/xV8kstez9yHHcM06yrK9CSQ4YEhRgpIFrBOvW9N95gcEwtCgXi+CCVKMkwJKiJJAjQQOYqws704ZLafaOozezzqCTNgJMDWY4a1Vsb9JOHcCk4ciEpjMsXvaBmETpxOl6tqEEawx73wUP/ANPOttB9xISkrASFGCo+9GVQ6Xm1+VE4N1pId/aVTMLyjOjOq5UCUi14vbSwpjtjeJFlLV7RcEpuF5bTeDAuapC3VuqJuQeJt4A1yRfxfCvqXlxKHF2xngdthp9t5ScyUKzBsKKdLiTFxMaza1WXYWKw20cRLqENlLn7sJX7MqzFxxKTe8HsyLxFc9fZWE3FjPyj0qbCY5xtTa0iC3dJ53k3866YSa5bMtp2xO0MciUOslRSYCkuKAKYBHuCJvBOtqyufYzb2JxSy6XkoskBKVJSAAkcCqTrrXtaePA08GRSFrVzqwfR3h82NC1aMoceP/SIHxUKrLh61bdx05MLtB7kyUA8pSon5eVcWunWCVedL6ujXGrkU/H45by1LWpSiST2iTEmQBPChorUKqRKriuqKUVSRk227YQ6j92fvAeST+NCAUbiFfux98n5fKhU02xEjeJUNDUn+IHiAagqF0ikgOj/AESqzuvriMraE/1KJ/0VY/pIXGBUOak/C9IfofT+5xCua0jyRPzpt9Jiv/Zj73yr5TUvd1aP5Nf2PTxqtMc6Yo1AoJii0qr6s842cNeNtFWnpNRlyTRze8S2G0IZUUKUSStJANrXMTcg8eVUhWCKwp4g+VS4FWQjlofG3wMVOd88VJBxTnis/OoHNse2P71SST9cBIVpHaIjMO+4+FVFqxMYtOltduElPcffT4GD4mrButvY17JeGxKSEkwiO1l6HjY6a6Cqy3iUuIUAf3jYC+8AQuPA0vxSIKXBoqx6H9fOtpvi0Y1fDO57t41BBQFhQ+qQZm0iPWmGPUSnMkkKRcciONcO2bth1hYW0qOfEHjcfOuo7E3vbfQkLhCiOJsToQD15GlHJyZyg0i2jFFTQcRcgXHqKhb2gklHCfK/Dzqv7P2kEPqZV2UrTAPCbhJ+XhRDjJS4lK7JmLdYm9bxgvMylOXDQ33hLqEB1hOZbZJKftpPvJ7+I6gVyvfLBBxKcdh0gtuWdRxbc1UDyn1jnfpm3sU4zhlLT2gjW05kRefn41RMJtnDjM2lxQYfC/aJUkShShJUMusSkzqfCudo6HKzngazhSkG4uRPWyhz1v1olK4y6kzc34cBRu1NlLwjuUwQPdWnRYNxPelQ8+lLsW2QZExEpMiYPoeFceaDQLkHxSfaTaeHEE8Zg/q1eJ2PwBKtTGg089a9OMyJy2OhJ4x33rMJtAzeY5CwN+dTFtJmitECcOSg5TASSDNh+dEoQAmCq44T+oonFtlwApSEiZCSoC560M5gV+6CBOslMSBzBk0WVRHMxmSYN9T3V48W0jKkT38PLWt8RhFrUO0kiBcE/OpntmqSCVHL6Duih0AuCAeEcvWso9vAW98D9a1lVaKsQOGrfsTs7GxquKlEeAbSPUmqY64OYq77OYUvYb2QE9pSiBrGcJsBrpXJr/wQ/qj/AHOjB3fyZzoOGpWl3HeKxOBc4Nr/AKVH5VKjZz0/wnf+2v8ACu7dH1Ofa/Q3xDnYT3qPxFQB4UUrZD6kiGXeP/DX/wCNeJ3exR0w7/gy6fRFDlH1QUwUuVEo00b3WxZ/+M//ANl35oohG52MP/x3v+2oeoqfFxrvJfVBtfoX36JURg3DzeV8G2h8zU/0nr/9sPvfI/hRW4uzV4fCBDiSlRWpRB1EkAT4JplvNsb9rwqm0xnBBTJgG0EE8JBN6+QnmgupeI3xu7nrqLWnrzo5E0uKlU9ami9y8an/AICj3KQfRVA4ndvFpEHDveDalf5Zr6yOpwy7TX1R5eyS8gJDvlQb+snS8ec/OinNmvJ95txP3m1p9RXiHVo4wDqDcHvBEVruTXBNeoseXJmtZpi6lKr5Eg8cpgd8SRQ2Iw4SNInn+VPkTQfsl0hQc4ELQf6LT4EeVP8AGsALWj6qu0npOnxt3VV8GCEnjcafdV061YcU7nb/AJken+9dMO1GckR4cSMvEGL03wIhIBsROnfNVtx8yFp14/rrWydou8FK8h+FYtcjq+xbf2p0HWRbv46edP8A/wBQhwJzkpdAAJuM0aTwJ61zxO0cRzV/SPwqYY54GFOQeUAm/QCtYZnExlg3HfNn41OIY7ZBSoFCokcPDnwrlG+O6zmEJUjttEgAgHM3rAP48ary95cS0goaWqCZiECDzHZMHuion96Me8MqnjERd2O4xTc4sPDl5sb7K2sVpGHxABSpKg0pQmCcxSk9MxIHETbjIj2EJT7JYAJOZJkEA/e4pUIHkaShp1VlezN9S4O+LCakW88UjsJ7PZmQEiSYlWkdTwqGrVFKLRjikplKxEDtW16AnS3SsZbKh2CAkcctxxjNrWu0cQFSpSUmYzL7V1RHuj14m/KhUuhVgsAfZhRHmYrkcHE0SYfiHCIyHokTN4mw1qQYVwXAlRuReOpM0HhXAg2UJMXKLetFDFEiMxEz1sO6/GokpIpI2Vs1ROckpQBeAZkawBeNL6XqbEqcC0t5VSQYkwCD3moHscrgo3tbXiLknrFYjEWiVaRGojlE1PxBQxwmzXSkH2SFdSR3V7SpT6+CVQLCxFhWVOyZVRKo4k8a619Hb5RgkZTqXJ/rNcvdJj6t66RuEqcEjopwf3n8a5usK9P7r7nboq8T2LenaC+dYcevnQFemvltibPVaXoMk45f2qkTjV/aNLQqts9ZvGg2oZDGL+16VHidplAuVGeQoRK69cvwmkscU+UJxRKxi0rkCQUmFAiIrxG0gDZDhH2g2pSfMUp2SSHMRyLlv6UzRqsGvVt/KORSkx3GK3lixxk0+37+YrbiN0YqROvdUwxI50qYBCQFKzG8mIm5OnjUoVXJLGr4HsT7jNLx4Go3IOoB7wDQSVVt7U1Ki12YniRq9sxlfvMNK720H1FJts7qYVxBCWUNngUJCCO7Lanvt60LoNb49Rng7Un9Q8GL7pFawu5WGQi6SpWklSuNrAGONPRubgzfIoHSy1fO1ErUIF/rI/zCj0rrXJ1DVJJrJJd/M556fG3SQvwn0ebPOiXJ/wDtWJ8jTNjcXAC37OD95S1eqq3ad60wYxnBV+tb4usZZNLLJ/M48mn29itb27jsrYy4Rpllc3UGxmUCkjLmAzD8qY7B3Zbbabb/AGVg5EpSXHEJK1kCFKPZ1Jk605RtZAcLYBWoAEhIFs3uySQJMfqaPGK+0hYHOAfgkk/CvpdJhyZY73N7fJf5OWUklVArWxMPH8FnwbQPlWuL2Y2lBLTDKlgdkKASknkSEmPI0Z+1JV7pCuf58qgRtBE3kVWbVafFNY8jSfq/2yVGT5Rjuymin+GgHolP4VV9s7rYd9aFOIgp+zKQYMiRoYN6uiHQdCDXpAPLyrHV6BZ5LLgybX+XZlQybeGiljZDaUlJQlQ4hSUme+1U/bn0etuZlMFDS5MJghBECx1ymZuLaWrp+JcR9YeIkfA0A8lHA+dfMR1GfSZG4ZFL9+j+x3JxyL4kcLd3ceQstuggjhlBsTYixt1oprd9wTNtPeAAPgBmrrOOwudMHwPL8qrjysilIXYpiR6HuPOvoNL1V6jtw/QxnptvmVRvdtQ99SOEw3m14duI8qYYbYDYPaUtQnQqgeSAI8zROI2gDZMnTQTUAW+v3GzHUV6EXlmZ1BDXD7LwwH/87Jv9ZtKj5qBNZS5vBYiL5h4xWVXg5PUN0fQ5KtSuJPnVy3MwLjrBLeJU0UrUkpiRcBWaZ45oiPq1VlJq8bAWhDDYEiUyepNybfq1b5sTyw2p0/lZEJqDthZ2fjk+7iUK7x+RrdhWOCkheRSJGYjKDE3PP4VO3iDwV8/Wi8JigTC0+KZEd94rys2hzxi2oxl7UzrhqMbfdr3D81ZnqZWDTMZ1A9SD61r+wn6rgPePwNfOPanTPTPErqZjEFM8ZqI4N0aBJ8SK8Laxq2rwg1LSfmMmTATCRF5nUk2/AV6kIzleU5iADCjFumlDKfgXCh3g1sjEJPEedFSBJBOblXuaogoV7NZtFk4VXuaoZr0GpoZMVVrNaTXoNFAaPqsPvI/zCiEukaE0M+LD7yf8wqUGqkrivcmuQlOJVU7eO5iku1NoJYaU4oSBAjqbUPsTbiMQVJEBSQCYMiD+vjR/CyljeSuF5kS23TI9vYp1GKL+HmzaM44HtKR8xRuF3/KYS8VJPEKBNuYIF6E25bN1ZV/a60R6mlWz9oZkeyWQADMm5yjl519l0zPWkgvRfc8PUwSzNFlxe+jEAodJUOSFA+cCgsNv4jNDqTlP1xqO9MX7xUuydp4Zs9tao4AJseUzfidTypvgVMvuSAhTJC0ezWnTsZitVtLECDxrp1Olw6zHtypfde5jGcscuAljayYC21gpNwQdaMb2+eBmuZYpwYR4paM4d0yEk/wlExfUx+XKmmGxawdE+Z/Cvk8/T8ulnUJuvLmj1sTxZo21yXte8BP1UmgMTtQnRKY7q5btLfrENuLb9g2kpJF1KV3Eaai/jSnF7840iykI+6gE/wB010rpeszczkvdmfjaeD4R1h7aCj07qQ7UUHCAVSoAwJEkam3K1UAYzEPtZy+oqKygICiFGBOaBAAuBwm/KpN32Fs4ltStSYN79oEfOu/S9HeCSm5dvQzyauM1tSLugKSIMpHDsTRTDgiM6/BB/wDP5VB7ZepS55K/8K8LxntZgOsp9Yr3EjiD2yg6lXl+deUCMYOCx/UKymBz3/Dkn6tWPZ2HhtAtYcKds7DB4eZAofaDHslFI5SKqqB9iqY3eANrKQgqgkSDe3SnWyceFwpJMGRfUGDY1UHEiVKJ0/G/rTHYT2RzLwWB+KT6jxoTIaOj4XEe0bB+siEnqPqH1HgKkpVshK0rmOyoZVdxi/gQD4UxUqvmeq6Gay+JBcPv8z1tHqFs2yfYIS4RoamRiVc6CCq3SuvDlD1R3p2HnFGDpoa9zNnVAPgKCJsajZxBIBKTcDQg/n8KlYuLQ+A79lZP1Y7pHpWf4cj6q1j/AKp9aiSut81S968x0e/4evg4D3j8K1OFdH2D4kVuF9akS8edLdL5+wUwUpcGrZ8CDWpfjVKh3g0Rh9qpUspkCLTzpwwylWqu/SB1r1MPStVlju2L6nJLW4ourK27ikkDtD3kf5hRKVg8act4Bh8Rmkz9kcLzp3VOdzm1XCh5EeivlW0+i6lRXH6r/BK6hivkrzzSVpKVgKSRBBEg0PszZbLE+yQE5tTqTGgk8L1YXtznB7jnxn1AoNzd/Fp4BXl8jXNLQauEXGnXp/qzVarDJ3Yj2/7p/wDreH9oV/opFsJppTn71BWkciRHGYGumnSnW8eGxCWxmZVGYpkJUfeQtNgASdZ04VWHHm0faQqxgrSIjT3gDx4ivd6dhnHTpSXKbPK1kk826JeNkbFw2IU5lUWssRkCSCL3IUmQeGtJXMA+h72TKVZFLUgAhMq1BJi0QPKkDG9ZZczhQk6ELR6ZTTXY/wBJi2SskF0rJJBUSJPEBCJHhXqxjHakcnxWwvfBlpkpZdaCXMgK1IJVck5Yk2NvjQey8RKYJkpsTzGqVeIihtt7wuY9QUMMpNspyh05hJIkqSdJN+ta4TBYpKswwzmXKEmBJsSQbwTryrh1+n8WHwrlHVpsuyfIPvfh2k5X1trWTCFZVBOk5Sqx7vAVWHdqJiEYZsfeJWfwq54vFyChbLhkQUFtz0y0uw27Kl/w8E+vvOUeajU6HNkhi2Ti+C88ISnuUlyVbZOPIWrKIKhYJHET+vAVa90dhpU4C9JcUpAa7UBJCpUVE20EQKf7K+j1+ZKGsOOJ/iL+Nh8at2yt2mcMc13HPtrMkfdGg8Ir0I75eVfM5m4R87Ys2xsP2aiUkgcRr+hQDTZGivJUVY9r4oAHNYVTHtoNAntR5/KtpRM4seIn7X935VlLcOc6QpBCknQg2NZUlEbzylamfIelQP4UrHI8OPnW4QBqanbcSOfjSZdHOH2BmWM4SsZhlVPavGURxMVriG1tOKCklJSUkSCPqiLHpBpjvdhAl0rTPaAUAPtTc/CfGgNpvrWc6l5s2aRaxT7PoPtHyNCZDLYhwkBaSRIBEdanb2k4njPf+NVrZW3UIQG3ARGitRHWnTD7bnuLBp3Qhs3tofXR4i9GsbQZV9aO+3rSIsGolNdKznix5PxxT9i4zlHsy5MMZoyqHjYdSSOFD4Qy2ki4IEHnyNVRlwpNiQCCCAToRBtVq2ZiWMiUN4iIAADqR6iBXj67pakk9PH58ndptY0/5jNkLi3f61IldD4fehA7DiJAJEphQsYnhamOHxuDc4pSTw9z4aVhLoUmk4yVmi6hG+UQpXQ+1cXkRb3lWHzP6507TsdKroc84UPMVUd4GHUOw4IA92NCOYrLT9HyxzLxF8KKy66Dxva+QRoxpTMbTUGyFKhNpJMCBzNLG6V7Z23+zxABc95IVcN8if5q+ms8ii3bu7aS3mPaOnAjiftRNW3Z+9rX1ipPePwrg7u/2KUqXMi/vBXqFUbhN+/+Zhz3oV8lD51pGRLR9G4PbLLnuuJ7pE/GmAM1wPZm82FeIAXkUbZXBlPcDJST41ZP8UdZAyLVmNkpzWJ6/wAo1JquBdjp7RzOKPBMIHeQFK9UjwNTPYdC7LSlXeAfWqBsnel1pASqHDJJUZBJJkn425CBThnfZv67ah3EGkOx0dh4bX2DX9CfwqRGBYTo22O5IpUN68Mse+Un+YEfEUpxu3mh/wAUedTLgEy3hTSdMo7hWwxKOYrm+I3uaToVK7hS5/fg/UR5n8KnehnWjiEcxUTuPbAua4vid8cSrQhPcKS4zazznvOLPiarcgOwbW3vwzQIKxPIX9KrS96FvpcU1kbQgdpx0wO4QDJ4fCqTtbd/EMMh54JbzlIQlSh7RRVxCBwGpmIpNvBtQJSlhsn2bYk395QEqUesk+daKXBKigra23luKMqK+psn9fqaEcwq1YZzFSlbbSkJUJi61BIgAXAJE94qlYvHLWdSBwA0q0bDWs7OxSSezlSqPuuAfP4VDbKpBey95ltoypsCZi1rAfKsqvMm1ZUDs6W8VDgb8qEcUoWuKnvWzLsH/afjSNRJtRtRGYkkp06VXnXoBAOqio1fDJJnj+tNKU4zZDKjdEHmJHwFBFFJdcFaNLUPdJHdVxRu439UGeA/3rdzYgRZQg8qTDaIcFt99GvaHWnWF3qSf4iYoN3AwdLdKhxGHTwRHOgRZ2cWy57qhW4wsixmqOvCqGkj4VKxtN5vRRPfTAuBaI4VoU0pwm9XBxPjr0+VNsPtRlzQxSTAmwz60GULUnuJFNRt55acjuVxP8wuO5QgigEtg3SQa2SimmI2WsAEkQkAqPGybx6VzbauIU66SblR0HM6D5eFXzb7uXDr6lKf9R+FU7ZTES4dTMdB+JoQMzCbHSkSu6tY4J6dTUrrCeXnYUZhWFOyQYQNVayeSZt40uxO0QhRCGwlQ1UsZ1mOqpjuFqe5BtYM8yk8QfEU/wB2NvlpQbeMpIyoWSSUXnLJ+qfwoDZONW85lXBTBJ7CAOlwmoNphoOKRGWwunSSOKNI7oo3cht4s6YF16XKre6O086PZOXWgSkgnto0m/LThwqwhbR972ieoyufDsetUmTRG6uhXhIpgGGjpiI+80sf5SqvFbPTFsQxHUuD4FukxoQEVqRTc7PYB7eKH/5tOL+KsgrbNgk6NvvH+daWh/YCfjWdDK+6YFWDcTYgde9u8MuHZHtVqVZJy3Ak6jieg61A7vKlqzDGHZPA5PaL/qcn0pJtba2IxBh15aweBMJ/pED4VSAn3u3hOMxntD7knIn7KEzl8Tc956VS9ohTvtCkCJSAJ4G9uelHpkOrJ+yqO6IEfGi93WAUrVlkhUAk2Fr241d8CFuzd2jKVOgwbxVtYwATg8cEDKlLJgctVm/hWuCSt10BIkAADhVrRhkIwWKSvIorS4kmfdlvLY2kjxF6SA46wbVlGtbLt2lGegmvKKGdIxDjZEIbI6lRM+ERUAk8KJSyo3KSByg38qlYwriicqfHl3XqGzegJKRea2GUcD04VPiAE2Wb8IgnxNQsbPddBUgSmftJHqaLJaNTiYuBXntwbqSD329KJawKEKhxYcEaNmb9SYFD45sAgtoI6EhV+6BwotAAHC5tB+ulRuMEWiD0j42kUc6hcdqb34fAfhWNtqvYDqTfwoEJHcMOIHiT+vhWi9lIULLE8ZNqcOYUQVTqYuPnQeJw4GgM8bD4CmQKMRsYC8p8xQSsFOn4eVOjghN9e4GoA2oEkR5CkAsQ+62eyo+N6Z4PedYMOJkcxWxWI9wfKhFMgmIubCL0CGu3sQHGElFwVyP6DHzpGoSUoFptPIAXPkKMnIlTWt8w/lIEHwoTCoKlkDXKqPGn5AQf4oUODJ7gtl/l/HjNFbbbQ4gOj7quYniRzFRL2EsKCswMcNPKaDxyDAmytCnTrNtairKsJ2LiPZWckJgmT4aUuecQsrWsHtGQRqOEelXLC7mftGB/aQ40lQSIblSVECTMwRJgxzjUVVcqG1JzGRAUSnW82sfzq68ybPN38W426lSQSAb2sRofGK6acqgFDQiR3G4rnOM2wgJHsxMmOUd4q07obQLrJSr3kH+03HxoTBjcprRaalNRmnYgVaKjXAuancNRoxamyFtmFAKgiJukpMTaYJ7rGpKFuz8AHsQQ0FKkEmQZtx7tPOs2wx7F3KqxSkEjrVv3Fx7WCS7isQQlWXI2ixUoTJAHUgfGqTjcU5jcQ4uJcdUpUCTAOgHQaVVUheYlcxalqWpapOUDwmw8Ks252BK8OqAe0VX4Dhc1V8c0W1uoNilWU9CLEVb9l7wIw+AaabGZ451LJHZRLissj6yssd0006EF4gIwyIzXI4aq7unWqw/jFOKSkXSZMTYADXzgTXiVuYhxYupRtmJ4n5CrZsfZKGQLJUoCJIkAchRY0hLsrdp9bYUCkSSe3YmTJI6Xgc4msq7Nvzy/XjWUrHQsGNUDIVHxqNeNNxrPMn0rQp4WqRGHkaio4NrBCk1iGyrwo/2fMfHWtCq3SixUehs9k2McBMnTU1Kt8ZYLSdZzSQTQqlm3KsQrXUmpGSuqbVIQ0qeFyY58Ki9hbla08e7n51sHsplIivFKm5vTAGDU6mKkQBEa9fx6Vvm/34+tepHCTTsmiF5KeHjbzgChnWQT2ePSjyjj8hURSP1NNMVCl1k6X7qgVhSLxFPHAJ0jxmhyyDTJaETqNaBYWUuWsSCB33qxOsWn86Q7Vw5Sc3P4GgQHicfiAJzEJmJgaxMaawa9wKc6knVUkqKrwAJM2uB3VMhgOkz9a9vqn86l2mpDTBQnVfZ69TUoO4fsnel1LSsOEoKVFWR02U2O0YSJAi+hIHOq/gmG1qU2oysyUHhIk9rvqXYbsutpOk/DKbUBicGptxSRcg2VzHA1XAjfaGzVoM+zyibwcw8OIHfTrdfE+ydGawWch6WkHzAHjUeC2gsAJcGYaZhr4jjQ+11gqhNo9fygUrHR0ArHNPmB/mgmvCKomH3jy2cBnmOPWmDW8LZ+uB329aYi0jZ7y/4bS1dyTRDO6GLXqgIH8yh6JmqivbzYHvJ86AxO3pskFX660DsvGJ3UYaviMSjuCgkeQJVUbe9mBwiYYb9oroMiT3qIzfCubYrGOK1EVG00TdWnWmIYbWf9o64vT2ji1xyzqKoH9VTnDSpEmybxzOgoNm6p4DSj2gSZNDYD3ZrqUiBY86cMvGq2yginGFJFIoatqkVlDtqEcaynRNmsEGtgT3d1TgjjW6X510rM6KA1DrWNj/appvbnWrq4Ok8KVhR5I5V7I5VqT4V5F7UCNj0ioiO6pxKjAGvDSt1JyiOnCgAYAc6kTbrXiUkXtasdWCZt3D8KLCjea1IHDxrRxPl1rxI/moEbFQHXwrUkDnWyTEixm2k/Hga0KeFNMTRqogxPLhFB4vDoWClWh8/96YNs/r8vGoXGgrw5U7FRSHUKZWQDImx599M8Fj2iIcbB/mHvjoc3ZUnoYPWnON2Nn94FJI5RNtaS4ndhQ9xQ7j+NUpENDVLGEy5kpQFgHKQXGzMWJTBSfAil2RouZ3gogJsBAkyIzKNgNaAXsjEp0RPcQaHXhH/+Wr4U27diSpBeNxgJkBIP1QkQEjpNyeppK85NFf4c8dRFTs7IULkHyqWwFH7MSZNS/wCHGnYwXSpkYQwYmONHIUV4YBXI1IMMpPD4U+Vhz+jUgSQIgcbm/drQFFf9konUipm8JzJNOA1zAPgKmbw4n3YFA6F7LAo5loEWopGFBsJvRaMBysSdIIoCgjDtJUmZAUIsRr41NGlvCtEJNgR6/CjWUpNj6mfOhDZE33CsrxTRBI18KymSeo4d9efa7z86ysrM6WSLOleNaCsrKBGrlStpEKtwPqKysoAhTr+ulTta/rlWVlAGs3qJ8adw9VVlZSEao1PcaxsX/XMVlZQIxR7Q/XCtnvl86yspgQpPaHdRKuHf86ysoEYFEzJ0AimGAE+zm9x6isrKBA7yRnNuXzrGUiTbn86ysqhvsCvJHL9RQyxGn6vWVlMlkC0DkNaGKRWVlAiIj1FSMi9eVlAHoFSrFh+uVe1lAImYTby9TRWFUbCbSfUVlZQUEkW8K8wt8wN7/wCo1lZQJngP68aysrKok//Z"/>
          <p:cNvSpPr>
            <a:spLocks noChangeAspect="1" noChangeArrowheads="1"/>
          </p:cNvSpPr>
          <p:nvPr/>
        </p:nvSpPr>
        <p:spPr bwMode="auto">
          <a:xfrm>
            <a:off x="155575" y="-1355725"/>
            <a:ext cx="3810000" cy="28384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14" name="AutoShape 14" descr="data:image/jpeg;base64,/9j/4AAQSkZJRgABAQAAAQABAAD/2wCEAAkGBxQTEhUUEhQWFhUXGBUXFxgYGBgXGRgcGBUWFhcYFxgYHCggHBwlHRQXITEhJSkrLi4uFx8zODMsNygtLisBCgoKDg0OGxAQGywkICQsLCwsLCwsLCwsLCwsLS8sLCwsLDcsLCwsLCwsLCwsLCwsLCwsLCwsLCwsLCwsLCwsLP/AABEIAMIBBAMBIgACEQEDEQH/xAAcAAACAgMBAQAAAAAAAAAAAAAEBQMGAAIHAQj/xABGEAABAwIDBQUEBwYEBQUBAAABAgMRACEEEjEFBkFRYSJxgZGxEzKhwQdCUnLR4fAUIzNikqIVssLxQ1OCk9IWJERzgzT/xAAaAQADAQEBAQAAAAAAAAAAAAAAAQIDBAUG/8QAMhEAAgIBAwIEBAQGAwAAAAAAAAECEQMEEiEFMRNBUYEicZHBMmGh8BQjcrHh8RUzQv/aAAwDAQACEQMRAD8A6OBNe1xXBbYxLX8N1xI5ZiR/SZFPcHv7iUe+G1jqCk+aTHwrldnTwdMr2apTH0kMW9qhSOoKVDwEgnwFeK38LxyYZDaD/wAzEr9mnvSkSpXdalyHBdlVo24CbKB7jNc13uWEhv8AaMct5anGSpluEtFsqlwBCJUezIBJ7qM9vsdMZsO6yNAstPtjwVM0UKy/uAGxrwiBXPN1XmnGEZtpOMvZnApJeQQQHFBHZdB1SEmxGtWhGHxgH7rFMPD+dsif+ppVvKk3XmMdsuGps1JMLisWDDuHa6qbekeS0g009uB1rhy9R0+L8U17clxxSl2RPFYJpXjNuNNe+42j7yhPlM1Xdo/SHhUWC1LPJA+aiK5f+VnP/oxSl+hp4FfiaRb8S2oxHxrZBjj8a5hivpMJ/hME9Vk+gt8aUv8A0h42ZSG09yZ9SaL6pk7RjH5ktYY+dnWnji85Uj2KkAe6VKSddSqDHlHWnCcEsgTExcToe/jXGcPvfinUhZdUI94JASCDY6Dr6VaN1sUp5Kmzin0OJgoh05VpPLNPaB+EV6WnwarZ/Mkr/I5ZzjfBcXcA9mJyyOFxf40v2xgXFNrGVQVEpMGyk9pB8CBWuzf2hLmR3FvwfdUAyodJCmpjxp26xjkK7DzTiYJ7bcK6DsrSK6liyLuT4iEeFxntG0LEjOkGOIMXEcwbUfhV9+goJ/ep5CsmIwiCeiiCe4KSR/dU2G3jwi9Wnmj90KH9hV6Vfg5KugWWPYrP0lP5SzHvQ4J6HLIqlMYgpJM3M3CiOYg/rjXR97tgoxpQcPiWs6AoezcVkUc0cInhyqg7W3dxWFMvNKCR9cAqR/UmQPGK5MsJ7uxLpskRiDGpP41il8QqFAjw4jjfTSlocAvJ0E9L/GeletvZiI1E/kT51j4bTJOnbp76urcDTxSf3ZhR7JKkiZUrTQEmwobevaGNTmDik+z0BTAHavlTaSbRPyqhIK82RBMrsmI1VYiY6fHWn+3H3g8kYgFZaCAvtFIMACZjkdT+NdeOTlHkTZ0fcnaocZSghQUAfekmBHGBzp/jcSG21rVohKlHuAJPpXL9lb0FLiWUJQnMsJLmZUxYABRBgQBw8K6BtVbS8Mv24lASVKSDchJPdYx01it8ck1w+w0+DkW/W8X7W6gwpLeWyFHjoqw0M28KqzaYPEdw9aOKWluLPaAOYoQLk8EhSjadO/pwcbG2Th3HmQnEg5pCgU8hcDSZOhjiK5lFzndhdCPBYN50obaSO1AusAqJUZ948DMxTo7uYoYkpa/cns5ipfZBUm+WLKhKgTEkXpztTYycO3iFsYhCClSUOH+GtLa1JKomL9k6TIkUDhNmOKQHEY0KccUQ2oLcLjohSVoKVC4yoERxJB0rsjFLgls9GyMG0PZvrKnElQUUJK0+8owlQItfvmayr9hN0E+zRkedR2RIKUkyLH+IkkaRE2ivaqoeg6ZwZTijxqMtzRJRWrTZWtKE6qISB1JAHrXO3StnQAA5SSOPQHTvBrY4mbEwOeg/GauGztzXACvFKSyJN1qSgEc7SfCE1tiXtksgpU4p88Q2ggH/APRV/JUVwy6hjb2wTl8l9+xqsTXd0V/YmzsS4pKsOys6dpIKPH2hIE1dNm7k4lSvaYh1OY/bnEqHd7WwPW9KXN/vYsgYRhLaZAGdZWRbU/o0jxm8uKxHv4lUH6qIQPIVzTjrssvgrHH8+X90O8ce/J0TF7KwLRCsW97VQ09suQOiWkQANNBQLu/uCYGTDNyOTaA2nx/2rm37ODc37zPrW60RSXSFN3nySl+iD+Ir8KL3szfp7EYlppLSUIWsAzJVFybzyHKrXvE+UYV9YMEIMHkTCR8TXO/o8w+bGpP2ELV8An/VV336cjAvdcg/vB+VeTrtPix63FixxpcX9Trw5JPE5NnH0NlUFRJJ1kmpm8OOUV7hxpRqU19dwux5vcGDNaKao9QtUJFAHuylhKik6EH8/hfwFOME8W1g3lsk21KeMc418Kr51kcL07wzuZIWn3kRbmNI/wBNbY35Gc0dWwO1x7HOgpUpuCpJ4pP1k9LAkcxVo2ftNDyM6DwvzBiuNbHxYQeJQIIPHIeHWLg9U1fMEprDBDiCS2swDNoN4PUVpRluoZ7S2KcQgKz5XEkiTcGDInl4VvgcOpw5cRhwlYjK4kC576bYYoUkxaQLzqIsa1wDpTCVzJJgzMxVbpVQvhsHXs5MELbQsjjAAI5FJtQODaQArIVtx7yUmUjmchlMf9NWQih8I0Ekxxv1qVK07Kapo45vC1hl4haFt+ydSo9tsAA6/wARsSP+pJ43B4VVttQJSvPIMLiw4TeNDwtxFdj323QS/mfZEYhMKH88WII5kenWuWY7F+2SG1yl1Fgb9sX7JEa8u7KeEc08fmimT7tbO9o6oDKShIWgKXYkEAjmTMRGnWttvYolV1rUoznkAgKIkpCo4C1joKA2Ht5eGdS+htJKQUiZPeQJsY8OlENYxDr6nFBaErWpWXNISVGVKsNIMDurP/xV8kstez9yHHcM06yrK9CSQ4YEhRgpIFrBOvW9N95gcEwtCgXi+CCVKMkwJKiJJAjQQOYqws704ZLafaOozezzqCTNgJMDWY4a1Vsb9JOHcCk4ciEpjMsXvaBmETpxOl6tqEEawx73wUP/ANPOttB9xISkrASFGCo+9GVQ6Xm1+VE4N1pId/aVTMLyjOjOq5UCUi14vbSwpjtjeJFlLV7RcEpuF5bTeDAuapC3VuqJuQeJt4A1yRfxfCvqXlxKHF2xngdthp9t5ScyUKzBsKKdLiTFxMaza1WXYWKw20cRLqENlLn7sJX7MqzFxxKTe8HsyLxFc9fZWE3FjPyj0qbCY5xtTa0iC3dJ53k3866YSa5bMtp2xO0MciUOslRSYCkuKAKYBHuCJvBOtqyufYzb2JxSy6XkoskBKVJSAAkcCqTrrXtaePA08GRSFrVzqwfR3h82NC1aMoceP/SIHxUKrLh61bdx05MLtB7kyUA8pSon5eVcWunWCVedL6ujXGrkU/H45by1LWpSiST2iTEmQBPChorUKqRKriuqKUVSRk227YQ6j92fvAeST+NCAUbiFfux98n5fKhU02xEjeJUNDUn+IHiAagqF0ikgOj/AESqzuvriMraE/1KJ/0VY/pIXGBUOak/C9IfofT+5xCua0jyRPzpt9Jiv/Zj73yr5TUvd1aP5Nf2PTxqtMc6Yo1AoJii0qr6s842cNeNtFWnpNRlyTRze8S2G0IZUUKUSStJANrXMTcg8eVUhWCKwp4g+VS4FWQjlofG3wMVOd88VJBxTnis/OoHNse2P71SST9cBIVpHaIjMO+4+FVFqxMYtOltduElPcffT4GD4mrButvY17JeGxKSEkwiO1l6HjY6a6Cqy3iUuIUAf3jYC+8AQuPA0vxSIKXBoqx6H9fOtpvi0Y1fDO57t41BBQFhQ+qQZm0iPWmGPUSnMkkKRcciONcO2bth1hYW0qOfEHjcfOuo7E3vbfQkLhCiOJsToQD15GlHJyZyg0i2jFFTQcRcgXHqKhb2gklHCfK/Dzqv7P2kEPqZV2UrTAPCbhJ+XhRDjJS4lK7JmLdYm9bxgvMylOXDQ33hLqEB1hOZbZJKftpPvJ7+I6gVyvfLBBxKcdh0gtuWdRxbc1UDyn1jnfpm3sU4zhlLT2gjW05kRefn41RMJtnDjM2lxQYfC/aJUkShShJUMusSkzqfCudo6HKzngazhSkG4uRPWyhz1v1olK4y6kzc34cBRu1NlLwjuUwQPdWnRYNxPelQ8+lLsW2QZExEpMiYPoeFceaDQLkHxSfaTaeHEE8Zg/q1eJ2PwBKtTGg089a9OMyJy2OhJ4x33rMJtAzeY5CwN+dTFtJmitECcOSg5TASSDNh+dEoQAmCq44T+oonFtlwApSEiZCSoC560M5gV+6CBOslMSBzBk0WVRHMxmSYN9T3V48W0jKkT38PLWt8RhFrUO0kiBcE/OpntmqSCVHL6Duih0AuCAeEcvWso9vAW98D9a1lVaKsQOGrfsTs7GxquKlEeAbSPUmqY64OYq77OYUvYb2QE9pSiBrGcJsBrpXJr/wQ/qj/AHOjB3fyZzoOGpWl3HeKxOBc4Nr/AKVH5VKjZz0/wnf+2v8ACu7dH1Ofa/Q3xDnYT3qPxFQB4UUrZD6kiGXeP/DX/wCNeJ3exR0w7/gy6fRFDlH1QUwUuVEo00b3WxZ/+M//ANl35oohG52MP/x3v+2oeoqfFxrvJfVBtfoX36JURg3DzeV8G2h8zU/0nr/9sPvfI/hRW4uzV4fCBDiSlRWpRB1EkAT4JplvNsb9rwqm0xnBBTJgG0EE8JBN6+QnmgupeI3xu7nrqLWnrzo5E0uKlU9ami9y8an/AICj3KQfRVA4ndvFpEHDveDalf5Zr6yOpwy7TX1R5eyS8gJDvlQb+snS8ec/OinNmvJ95txP3m1p9RXiHVo4wDqDcHvBEVruTXBNeoseXJmtZpi6lKr5Eg8cpgd8SRQ2Iw4SNInn+VPkTQfsl0hQc4ELQf6LT4EeVP8AGsALWj6qu0npOnxt3VV8GCEnjcafdV061YcU7nb/AJken+9dMO1GckR4cSMvEGL03wIhIBsROnfNVtx8yFp14/rrWydou8FK8h+FYtcjq+xbf2p0HWRbv46edP8A/wBQhwJzkpdAAJuM0aTwJ61zxO0cRzV/SPwqYY54GFOQeUAm/QCtYZnExlg3HfNn41OIY7ZBSoFCokcPDnwrlG+O6zmEJUjttEgAgHM3rAP48ary95cS0goaWqCZiECDzHZMHuion96Me8MqnjERd2O4xTc4sPDl5sb7K2sVpGHxABSpKg0pQmCcxSk9MxIHETbjIj2EJT7JYAJOZJkEA/e4pUIHkaShp1VlezN9S4O+LCakW88UjsJ7PZmQEiSYlWkdTwqGrVFKLRjikplKxEDtW16AnS3SsZbKh2CAkcctxxjNrWu0cQFSpSUmYzL7V1RHuj14m/KhUuhVgsAfZhRHmYrkcHE0SYfiHCIyHokTN4mw1qQYVwXAlRuReOpM0HhXAg2UJMXKLetFDFEiMxEz1sO6/GokpIpI2Vs1ROckpQBeAZkawBeNL6XqbEqcC0t5VSQYkwCD3moHscrgo3tbXiLknrFYjEWiVaRGojlE1PxBQxwmzXSkH2SFdSR3V7SpT6+CVQLCxFhWVOyZVRKo4k8a619Hb5RgkZTqXJ/rNcvdJj6t66RuEqcEjopwf3n8a5usK9P7r7nboq8T2LenaC+dYcevnQFemvltibPVaXoMk45f2qkTjV/aNLQqts9ZvGg2oZDGL+16VHidplAuVGeQoRK69cvwmkscU+UJxRKxi0rkCQUmFAiIrxG0gDZDhH2g2pSfMUp2SSHMRyLlv6UzRqsGvVt/KORSkx3GK3lixxk0+37+YrbiN0YqROvdUwxI50qYBCQFKzG8mIm5OnjUoVXJLGr4HsT7jNLx4Go3IOoB7wDQSVVt7U1Ki12YniRq9sxlfvMNK720H1FJts7qYVxBCWUNngUJCCO7Lanvt60LoNb49Rng7Un9Q8GL7pFawu5WGQi6SpWklSuNrAGONPRubgzfIoHSy1fO1ErUIF/rI/zCj0rrXJ1DVJJrJJd/M556fG3SQvwn0ebPOiXJ/wDtWJ8jTNjcXAC37OD95S1eqq3ad60wYxnBV+tb4usZZNLLJ/M48mn29itb27jsrYy4Rpllc3UGxmUCkjLmAzD8qY7B3Zbbabb/AGVg5EpSXHEJK1kCFKPZ1Jk605RtZAcLYBWoAEhIFs3uySQJMfqaPGK+0hYHOAfgkk/CvpdJhyZY73N7fJf5OWUklVArWxMPH8FnwbQPlWuL2Y2lBLTDKlgdkKASknkSEmPI0Z+1JV7pCuf58qgRtBE3kVWbVafFNY8jSfq/2yVGT5Rjuymin+GgHolP4VV9s7rYd9aFOIgp+zKQYMiRoYN6uiHQdCDXpAPLyrHV6BZ5LLgybX+XZlQybeGiljZDaUlJQlQ4hSUme+1U/bn0etuZlMFDS5MJghBECx1ymZuLaWrp+JcR9YeIkfA0A8lHA+dfMR1GfSZG4ZFL9+j+x3JxyL4kcLd3ceQstuggjhlBsTYixt1oprd9wTNtPeAAPgBmrrOOwudMHwPL8qrjysilIXYpiR6HuPOvoNL1V6jtw/QxnptvmVRvdtQ99SOEw3m14duI8qYYbYDYPaUtQnQqgeSAI8zROI2gDZMnTQTUAW+v3GzHUV6EXlmZ1BDXD7LwwH/87Jv9ZtKj5qBNZS5vBYiL5h4xWVXg5PUN0fQ5KtSuJPnVy3MwLjrBLeJU0UrUkpiRcBWaZ45oiPq1VlJq8bAWhDDYEiUyepNybfq1b5sTyw2p0/lZEJqDthZ2fjk+7iUK7x+RrdhWOCkheRSJGYjKDE3PP4VO3iDwV8/Wi8JigTC0+KZEd94rys2hzxi2oxl7UzrhqMbfdr3D81ZnqZWDTMZ1A9SD61r+wn6rgPePwNfOPanTPTPErqZjEFM8ZqI4N0aBJ8SK8Laxq2rwg1LSfmMmTATCRF5nUk2/AV6kIzleU5iADCjFumlDKfgXCh3g1sjEJPEedFSBJBOblXuaogoV7NZtFk4VXuaoZr0GpoZMVVrNaTXoNFAaPqsPvI/zCiEukaE0M+LD7yf8wqUGqkrivcmuQlOJVU7eO5iku1NoJYaU4oSBAjqbUPsTbiMQVJEBSQCYMiD+vjR/CyljeSuF5kS23TI9vYp1GKL+HmzaM44HtKR8xRuF3/KYS8VJPEKBNuYIF6E25bN1ZV/a60R6mlWz9oZkeyWQADMm5yjl519l0zPWkgvRfc8PUwSzNFlxe+jEAodJUOSFA+cCgsNv4jNDqTlP1xqO9MX7xUuydp4Zs9tao4AJseUzfidTypvgVMvuSAhTJC0ezWnTsZitVtLECDxrp1Olw6zHtypfde5jGcscuAljayYC21gpNwQdaMb2+eBmuZYpwYR4paM4d0yEk/wlExfUx+XKmmGxawdE+Z/Cvk8/T8ulnUJuvLmj1sTxZo21yXte8BP1UmgMTtQnRKY7q5btLfrENuLb9g2kpJF1KV3Eaai/jSnF7840iykI+6gE/wB010rpeszczkvdmfjaeD4R1h7aCj07qQ7UUHCAVSoAwJEkam3K1UAYzEPtZy+oqKygICiFGBOaBAAuBwm/KpN32Fs4ltStSYN79oEfOu/S9HeCSm5dvQzyauM1tSLugKSIMpHDsTRTDgiM6/BB/wDP5VB7ZepS55K/8K8LxntZgOsp9Yr3EjiD2yg6lXl+deUCMYOCx/UKymBz3/Dkn6tWPZ2HhtAtYcKds7DB4eZAofaDHslFI5SKqqB9iqY3eANrKQgqgkSDe3SnWyceFwpJMGRfUGDY1UHEiVKJ0/G/rTHYT2RzLwWB+KT6jxoTIaOj4XEe0bB+siEnqPqH1HgKkpVshK0rmOyoZVdxi/gQD4UxUqvmeq6Gay+JBcPv8z1tHqFs2yfYIS4RoamRiVc6CCq3SuvDlD1R3p2HnFGDpoa9zNnVAPgKCJsajZxBIBKTcDQg/n8KlYuLQ+A79lZP1Y7pHpWf4cj6q1j/AKp9aiSut81S968x0e/4evg4D3j8K1OFdH2D4kVuF9akS8edLdL5+wUwUpcGrZ8CDWpfjVKh3g0Rh9qpUspkCLTzpwwylWqu/SB1r1MPStVlju2L6nJLW4ourK27ikkDtD3kf5hRKVg8act4Bh8Rmkz9kcLzp3VOdzm1XCh5EeivlW0+i6lRXH6r/BK6hivkrzzSVpKVgKSRBBEg0PszZbLE+yQE5tTqTGgk8L1YXtznB7jnxn1AoNzd/Fp4BXl8jXNLQauEXGnXp/qzVarDJ3Yj2/7p/wDreH9oV/opFsJppTn71BWkciRHGYGumnSnW8eGxCWxmZVGYpkJUfeQtNgASdZ04VWHHm0faQqxgrSIjT3gDx4ivd6dhnHTpSXKbPK1kk826JeNkbFw2IU5lUWssRkCSCL3IUmQeGtJXMA+h72TKVZFLUgAhMq1BJi0QPKkDG9ZZczhQk6ELR6ZTTXY/wBJi2SskF0rJJBUSJPEBCJHhXqxjHakcnxWwvfBlpkpZdaCXMgK1IJVck5Yk2NvjQey8RKYJkpsTzGqVeIihtt7wuY9QUMMpNspyh05hJIkqSdJN+ta4TBYpKswwzmXKEmBJsSQbwTryrh1+n8WHwrlHVpsuyfIPvfh2k5X1trWTCFZVBOk5Sqx7vAVWHdqJiEYZsfeJWfwq54vFyChbLhkQUFtz0y0uw27Kl/w8E+vvOUeajU6HNkhi2Ti+C88ISnuUlyVbZOPIWrKIKhYJHET+vAVa90dhpU4C9JcUpAa7UBJCpUVE20EQKf7K+j1+ZKGsOOJ/iL+Nh8at2yt2mcMc13HPtrMkfdGg8Ir0I75eVfM5m4R87Ys2xsP2aiUkgcRr+hQDTZGivJUVY9r4oAHNYVTHtoNAntR5/KtpRM4seIn7X935VlLcOc6QpBCknQg2NZUlEbzylamfIelQP4UrHI8OPnW4QBqanbcSOfjSZdHOH2BmWM4SsZhlVPavGURxMVriG1tOKCklJSUkSCPqiLHpBpjvdhAl0rTPaAUAPtTc/CfGgNpvrWc6l5s2aRaxT7PoPtHyNCZDLYhwkBaSRIBEdanb2k4njPf+NVrZW3UIQG3ARGitRHWnTD7bnuLBp3Qhs3tofXR4i9GsbQZV9aO+3rSIsGolNdKznix5PxxT9i4zlHsy5MMZoyqHjYdSSOFD4Qy2ki4IEHnyNVRlwpNiQCCCAToRBtVq2ZiWMiUN4iIAADqR6iBXj67pakk9PH58ndptY0/5jNkLi3f61IldD4fehA7DiJAJEphQsYnhamOHxuDc4pSTw9z4aVhLoUmk4yVmi6hG+UQpXQ+1cXkRb3lWHzP6507TsdKroc84UPMVUd4GHUOw4IA92NCOYrLT9HyxzLxF8KKy66Dxva+QRoxpTMbTUGyFKhNpJMCBzNLG6V7Z23+zxABc95IVcN8if5q+ms8ii3bu7aS3mPaOnAjiftRNW3Z+9rX1ipPePwrg7u/2KUqXMi/vBXqFUbhN+/+Zhz3oV8lD51pGRLR9G4PbLLnuuJ7pE/GmAM1wPZm82FeIAXkUbZXBlPcDJST41ZP8UdZAyLVmNkpzWJ6/wAo1JquBdjp7RzOKPBMIHeQFK9UjwNTPYdC7LSlXeAfWqBsnel1pASqHDJJUZBJJkn425CBThnfZv67ah3EGkOx0dh4bX2DX9CfwqRGBYTo22O5IpUN68Mse+Un+YEfEUpxu3mh/wAUedTLgEy3hTSdMo7hWwxKOYrm+I3uaToVK7hS5/fg/UR5n8KnehnWjiEcxUTuPbAua4vid8cSrQhPcKS4zazznvOLPiarcgOwbW3vwzQIKxPIX9KrS96FvpcU1kbQgdpx0wO4QDJ4fCqTtbd/EMMh54JbzlIQlSh7RRVxCBwGpmIpNvBtQJSlhsn2bYk395QEqUesk+daKXBKigra23luKMqK+psn9fqaEcwq1YZzFSlbbSkJUJi61BIgAXAJE94qlYvHLWdSBwA0q0bDWs7OxSSezlSqPuuAfP4VDbKpBey95ltoypsCZi1rAfKsqvMm1ZUDs6W8VDgb8qEcUoWuKnvWzLsH/afjSNRJtRtRGYkkp06VXnXoBAOqio1fDJJnj+tNKU4zZDKjdEHmJHwFBFFJdcFaNLUPdJHdVxRu439UGeA/3rdzYgRZQg8qTDaIcFt99GvaHWnWF3qSf4iYoN3AwdLdKhxGHTwRHOgRZ2cWy57qhW4wsixmqOvCqGkj4VKxtN5vRRPfTAuBaI4VoU0pwm9XBxPjr0+VNsPtRlzQxSTAmwz60GULUnuJFNRt55acjuVxP8wuO5QgigEtg3SQa2SimmI2WsAEkQkAqPGybx6VzbauIU66SblR0HM6D5eFXzb7uXDr6lKf9R+FU7ZTES4dTMdB+JoQMzCbHSkSu6tY4J6dTUrrCeXnYUZhWFOyQYQNVayeSZt40uxO0QhRCGwlQ1UsZ1mOqpjuFqe5BtYM8yk8QfEU/wB2NvlpQbeMpIyoWSSUXnLJ+qfwoDZONW85lXBTBJ7CAOlwmoNphoOKRGWwunSSOKNI7oo3cht4s6YF16XKre6O086PZOXWgSkgnto0m/LThwqwhbR972ieoyufDsetUmTRG6uhXhIpgGGjpiI+80sf5SqvFbPTFsQxHUuD4FukxoQEVqRTc7PYB7eKH/5tOL+KsgrbNgk6NvvH+daWh/YCfjWdDK+6YFWDcTYgde9u8MuHZHtVqVZJy3Ak6jieg61A7vKlqzDGHZPA5PaL/qcn0pJtba2IxBh15aweBMJ/pED4VSAn3u3hOMxntD7knIn7KEzl8Tc956VS9ohTvtCkCJSAJ4G9uelHpkOrJ+yqO6IEfGi93WAUrVlkhUAk2Fr241d8CFuzd2jKVOgwbxVtYwATg8cEDKlLJgctVm/hWuCSt10BIkAADhVrRhkIwWKSvIorS4kmfdlvLY2kjxF6SA46wbVlGtbLt2lGegmvKKGdIxDjZEIbI6lRM+ERUAk8KJSyo3KSByg38qlYwriicqfHl3XqGzegJKRea2GUcD04VPiAE2Wb8IgnxNQsbPddBUgSmftJHqaLJaNTiYuBXntwbqSD329KJawKEKhxYcEaNmb9SYFD45sAgtoI6EhV+6BwotAAHC5tB+ulRuMEWiD0j42kUc6hcdqb34fAfhWNtqvYDqTfwoEJHcMOIHiT+vhWi9lIULLE8ZNqcOYUQVTqYuPnQeJw4GgM8bD4CmQKMRsYC8p8xQSsFOn4eVOjghN9e4GoA2oEkR5CkAsQ+62eyo+N6Z4PedYMOJkcxWxWI9wfKhFMgmIubCL0CGu3sQHGElFwVyP6DHzpGoSUoFptPIAXPkKMnIlTWt8w/lIEHwoTCoKlkDXKqPGn5AQf4oUODJ7gtl/l/HjNFbbbQ4gOj7quYniRzFRL2EsKCswMcNPKaDxyDAmytCnTrNtairKsJ2LiPZWckJgmT4aUuecQsrWsHtGQRqOEelXLC7mftGB/aQ40lQSIblSVECTMwRJgxzjUVVcqG1JzGRAUSnW82sfzq68ybPN38W426lSQSAb2sRofGK6acqgFDQiR3G4rnOM2wgJHsxMmOUd4q07obQLrJSr3kH+03HxoTBjcprRaalNRmnYgVaKjXAuancNRoxamyFtmFAKgiJukpMTaYJ7rGpKFuz8AHsQQ0FKkEmQZtx7tPOs2wx7F3KqxSkEjrVv3Fx7WCS7isQQlWXI2ixUoTJAHUgfGqTjcU5jcQ4uJcdUpUCTAOgHQaVVUheYlcxalqWpapOUDwmw8Ks252BK8OqAe0VX4Dhc1V8c0W1uoNilWU9CLEVb9l7wIw+AaabGZ451LJHZRLissj6yssd0006EF4gIwyIzXI4aq7unWqw/jFOKSkXSZMTYADXzgTXiVuYhxYupRtmJ4n5CrZsfZKGQLJUoCJIkAchRY0hLsrdp9bYUCkSSe3YmTJI6Xgc4msq7Nvzy/XjWUrHQsGNUDIVHxqNeNNxrPMn0rQp4WqRGHkaio4NrBCk1iGyrwo/2fMfHWtCq3SixUehs9k2McBMnTU1Kt8ZYLSdZzSQTQqlm3KsQrXUmpGSuqbVIQ0qeFyY58Ki9hbla08e7n51sHsplIivFKm5vTAGDU6mKkQBEa9fx6Vvm/34+tepHCTTsmiF5KeHjbzgChnWQT2ePSjyjj8hURSP1NNMVCl1k6X7qgVhSLxFPHAJ0jxmhyyDTJaETqNaBYWUuWsSCB33qxOsWn86Q7Vw5Sc3P4GgQHicfiAJzEJmJgaxMaawa9wKc6knVUkqKrwAJM2uB3VMhgOkz9a9vqn86l2mpDTBQnVfZ69TUoO4fsnel1LSsOEoKVFWR02U2O0YSJAi+hIHOq/gmG1qU2oysyUHhIk9rvqXYbsutpOk/DKbUBicGptxSRcg2VzHA1XAjfaGzVoM+zyibwcw8OIHfTrdfE+ydGawWch6WkHzAHjUeC2gsAJcGYaZhr4jjQ+11gqhNo9fygUrHR0ArHNPmB/mgmvCKomH3jy2cBnmOPWmDW8LZ+uB329aYi0jZ7y/4bS1dyTRDO6GLXqgIH8yh6JmqivbzYHvJ86AxO3pskFX660DsvGJ3UYaviMSjuCgkeQJVUbe9mBwiYYb9oroMiT3qIzfCubYrGOK1EVG00TdWnWmIYbWf9o64vT2ji1xyzqKoH9VTnDSpEmybxzOgoNm6p4DSj2gSZNDYD3ZrqUiBY86cMvGq2yginGFJFIoatqkVlDtqEcaynRNmsEGtgT3d1TgjjW6X510rM6KA1DrWNj/appvbnWrq4Ok8KVhR5I5V7I5VqT4V5F7UCNj0ioiO6pxKjAGvDSt1JyiOnCgAYAc6kTbrXiUkXtasdWCZt3D8KLCjea1IHDxrRxPl1rxI/moEbFQHXwrUkDnWyTEixm2k/Hga0KeFNMTRqogxPLhFB4vDoWClWh8/96YNs/r8vGoXGgrw5U7FRSHUKZWQDImx599M8Fj2iIcbB/mHvjoc3ZUnoYPWnON2Nn94FJI5RNtaS4ndhQ9xQ7j+NUpENDVLGEy5kpQFgHKQXGzMWJTBSfAil2RouZ3gogJsBAkyIzKNgNaAXsjEp0RPcQaHXhH/+Wr4U27diSpBeNxgJkBIP1QkQEjpNyeppK85NFf4c8dRFTs7IULkHyqWwFH7MSZNS/wCHGnYwXSpkYQwYmONHIUV4YBXI1IMMpPD4U+Vhz+jUgSQIgcbm/drQFFf9konUipm8JzJNOA1zAPgKmbw4n3YFA6F7LAo5loEWopGFBsJvRaMBysSdIIoCgjDtJUmZAUIsRr41NGlvCtEJNgR6/CjWUpNj6mfOhDZE33CsrxTRBI18KymSeo4d9efa7z86ysrM6WSLOleNaCsrKBGrlStpEKtwPqKysoAhTr+ulTta/rlWVlAGs3qJ8adw9VVlZSEao1PcaxsX/XMVlZQIxR7Q/XCtnvl86yspgQpPaHdRKuHf86ysoEYFEzJ0AimGAE+zm9x6isrKBA7yRnNuXzrGUiTbn86ysqhvsCvJHL9RQyxGn6vWVlMlkC0DkNaGKRWVlAiIj1FSMi9eVlAHoFSrFh+uVe1lAImYTby9TRWFUbCbSfUVlZQUEkW8K8wt8wN7/wCo1lZQJngP68aysrKok//Z"/>
          <p:cNvSpPr>
            <a:spLocks noChangeAspect="1" noChangeArrowheads="1"/>
          </p:cNvSpPr>
          <p:nvPr/>
        </p:nvSpPr>
        <p:spPr bwMode="auto">
          <a:xfrm>
            <a:off x="155575" y="-1355725"/>
            <a:ext cx="3810000" cy="28384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16" name="Picture 16" descr="https://encrypted-tbn1.gstatic.com/images?q=tbn:ANd9GcT3RNsQwW1ayQ8rWYwa3QQKwlx5o8Mog-fLKE3RbCBkj4h10dvD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4222489" y="3733800"/>
            <a:ext cx="4222489" cy="2809876"/>
          </a:xfrm>
          <a:prstGeom prst="rect">
            <a:avLst/>
          </a:prstGeom>
          <a:noFill/>
        </p:spPr>
      </p:pic>
      <p:sp>
        <p:nvSpPr>
          <p:cNvPr id="51218" name="AutoShape 18" descr="data:image/jpeg;base64,/9j/4AAQSkZJRgABAQAAAQABAAD/2wCEAAkGBxQTEhQUExQWFBQXFxoYGBgYGBcaGhcZGBcYFhUXFxgaHCggGBolHBcXITEhJSkrLi4uFyAzODMsNygtLiwBCgoKDg0OFxAQGiwkHxwsLCwsLCwsLCwsLCwsLCwsLCwsLCwsLCwsLCwsLCwsLCwsLCwsLCwsLCwsLCwsLCwsLP/AABEIAKIBNwMBIgACEQEDEQH/xAAcAAAABwEBAAAAAAAAAAAAAAABAgMEBQYHAAj/xABNEAABAwEEBgcDBwoEBQQDAAABAgMRAAQSITEFBkFRYXETIjKBkaGxQsHwBxQjUmJy0RUzQ1OSorLC0uEWY4LxJHOTs+KDo9PyNDVU/8QAFwEBAQEBAAAAAAAAAAAAAAAAAAECA//EACARAQEBAAMBAQACAwAAAAAAAAABEQISITFBImEDMlH/2gAMAwEAAhEDEQA/AMeu0uwOqvkP4hWk2w6AdxLNqsx2lER+zfUB3AVFP6v6NUlXzTSQCimAi0oUgEyCPpEpgZbttXBRz+P8RpRuIpfSNgcaIC0kTN1WBQsTmhaZSsY5pJpiFHftqBRwAbKWbXBy7Q91OLBol55JKEEpB7RynaJqQRqralQA0onLBK/6auVEWhwYSMjFLKWmcCRhl3RU4zqhah2mlenkYpI6o2rE9EY3/wB6grlqQpRwxpNllQInKrJ/hi0j9H4EfjRFau2j9UT3p/GgiSOr30iRUurQdo/VEeB99Jr0M+P0SucUDJCRGdLQNnvqWs2iVBIvIUTtF0+GVBa2VjAMuHilK49KuM6ZW4SyI3fjR9Z8bp4T6VIN6PUpDYulOUzgRnnNI6zWNQE3VEQcYJGzbFR0QwThSVoTh3j306bTv+PKivtyMIzG+oIxoZc9/Krdqon6NX3z6CqymzER2c9k8KtWqI6i/vfyilIW1gBDaYWW5WBeBjYrbPKq0CrD/iVYz7Zwy+1z8KtGs7IUyATdF8YnkeNVeIGCmjH2Z2TWatGSDJBtKswO2cREznvqb0bpBLbKQtV5UqgkySL6gDPdUA80boF5qMcYg4ERjxqTsbKQ2gKAVF4A8nFzW+HHtcY5cus1N6Ot/SLAjCmmuqPo28I6/wDKql9DIHSiBvw3UGuw+ja/5n8qqvPj1uLw5duOmVvaizpNwDq5g45DhVUbQZHWPiPxq36QaiypNwJ6mYMk4DhVP3dZXh/esrXCQRirP420Vs4jrK+O+ioOIxPx30ZBJI7VVAIWftHxoUYkYGgbGXaozaOsMFczllyoJBlP0Tp3D4iotS+KtnpUwwn6B48O/blUQpOPtbKgC9J27aKkZ55UYJk5K20UJzwNUAEmMjn+NSmiOy4MsBntqObZkZH4nhUxoRu6lzZMZ7calIa6YA6Q4ScMRlXU70nYwt5RKoyx34c66ippyxJM4A1Er0QCqAbp2zJgTmNvdUq3acppwUXhIzHv2fG6tMiDQ8MJaeeaKVklu66lSmVkYOFAxDahgoZ7wFAVVbZYltqUlYuqSSFA7CM+fMYGtQ1S0g0hLjb7PSsriTdvFJ4cIJ2zUY5olq0vQkmG1AEmQpxn9FP+YnBHFJH1IOrlJKtmrlibYsbQcAuttyucQVnrLw2gKJHEiNhBrek9YreFKcbaQGzimbyjdO+6oQccRFS+knukWlnEITBXE5xKE8gBOP2e8HLIbwKSkJyIKZkdxGPGr7yS3FWc14taM0NxsP0gnlJo4+UW0gYtA74UrAZCpW2aMdUT9NdSOskJTJCsdsyc99V61/OL2K1xN2/0ZSo8ykTnxqdDUpY/lGfUtCS0ReUlM9IYF5QSPZ41YbfrJaGji0lY3h9Ix3QtKZ7uNVXVHQql2gLIkNi+SQoSsm6gY55qM70iovT1pedcU4UhbZJDariSCgdkyMsMYzxxqSTfVXdGuiznZ1nkG1+hpYa5J9qyvf8AQSfQmstLaovFtN2SL11QGcTM0z6fcmORNPBsP+L7N7bKhzYd/lTTmy6csTphKATExddSYGBPWGWIx41kVk0spBBC3kbylZOG3A7Ymr7qyVFq0WgpUq8ghqZKlJxCYmSSVJGeZmpcVZGLTYHOwpB+642ryGNO06Is5xSsp+8mPMGsgtFvSpSjDKgSSApq6YJwBUgAmBhM7Kc6PtjYOCFtD61neUCON1RPrV6/2a1S16vZFKFOpOamhejmkG93gUovUts9oeQ94qraJ1gdaIcZf+dIHaQRcfTxB9s/ez2RnWl2LSptll6WzLR0kE9ZPVUcusJBSQQQRIgznGLrRUndQmD7A/ZT/TSbWpqG5uBSZzhJqF01r1pNlZSpltGcS24Jj/XnTFrXW3vA3FBKh7N0+RvY1LxNTulNTw8i4pRAmcAQZHOaglfJokDquY44qE5zuA+BRrNrfbgQHSoDekiPAyRUt+WLUpN5Lilp3gIMc4q9dTtP1VLf8nFojqKaV4p/Gnui9XFtMpQ831klWIkiCokYjnU2nTFpORk/dHuFMXdN6SQrFsKR9ZLZkcwon1q8eFvkLy4ybRbDo9CFAiZ5mo/XlENNZ/nR/CqphdufVBWyCd4QUmPHyNQmttpLjTfVIIcB3iLqhIMCIMAgwQfGpz/x8uN/lDhz48p/E2trUWVJuAdUYgyTgNmw1TkEmBK89396u1qTFlQQADdGRk5DzqotEykdfMbDWGqaM5jtZiuaEkDr5inLN6R1V5jYfwoEEEgXV57/APxqobNNEkYK8/wpWyWQ3xMgY4zlgY2UDSjIwVn8bKNZ0ycQQPjLCgllNgNPgbB35nKob2gIVs37hVgUyA26n7I55nI1EfN0BY6xnDls4Z1FIIQCo4HbsPGjNtiDhOGwcRS/Qmd4x9DvFN7hhUg5b/tD7NEHkhJhJzAy58KktAyUr9nLMZ47MqhSz1Tgcxt4H7NTWrxuoXhGI25491FNNYpD64k5Y9wrqU1mRNoWbpVMYjLsiuqomdKWdDV0BaHCoTCJkGYuqBGB9akNAWlTfWbvZQpJvDvwIkVb2tTLWttCQxZWjdAvdGpLgw9pY7R3yPxpK0/JlbAhSw6hSkpKghF8FRAJCQTCZOWMDGty2XYzeMsyod3T7gVKU7JMkq8ZFSVkUUIU4rtEFSuewecd9DbNR3bMG3nnkmSOoFLmYmDIAIG2nrNj6Rt1GV5Ckg7ipJAV3Eg91Z5Xb6ceOTIgNGW0RJPWUSozxqSNqT9YeNVlEoUUOdVxOCgYGO8bCDsO0Gli9MbRW9MT3TA+0KVmBnULZChRAKrs7xh60KnCopaQqb6gmRMAHtESPqye6nYxNKcKbKTMLfMA7QFdVMcmwtfMUxtqW0NuLCAkhBMp6pkDDFMV2nrYelQhOAQmY2SeokdwSrucqM0lbZbKdpUkR/qE1eN80pdjQSQEjpCEhICkqAUDvAOY21XtZdX0spS4jszdVEwCcUmCSROO3dVgYt5jrUlpu0g2dzCZT7xj3Z91MlT4rWhbJZlg9KpQUMgEqMjbF051qNmbDNlwEJbbkf8Apt3o/aSayXRF4vNpSSCtaWzBjBakpI861fWK0RZHzsKFQNn0igmP36538bZwhDZuoKlpTOA7W/IDb3U60popJ6yQE5DEXAD4R43aaMJNoMNNNtkdpUqjwM8amjoW8mHXlrwgDAJH3U5CtYygSlbKkkrTe9lSVoUeSrpMitD1V0z0RFrbhKJCbU3sQrAB/wC6RAUd11WaYqFZ0U2lMCYI3J8ZiiWJRsboWmVMqFxwHGU7QRtIzG8SOepPxdbBpqxMut9dF9lzMbUKykbjOHhnJrLtN6qqspKkm+0T1VjMbgrceO2rzqZbkpmyLVebKZaUTN5o4Jx23eweFw5qp7amLhU04LyDv2pOR5/hO0Uk3wrLGXL+B7f8X4K41FItDljclBlCySRltxw2EVPa2auuWdXStKUpmduJRwVvG4/BjtIjpEIJz9ZAz3HjWcsS+p+xPdIA4iCMyU4Hd2d4509z2+dU/V61qYcj2FTI3KznnhjVySoKF5JBB3VfvrP+tyq/pDRrjai4y4sJ9pBUSBxGOA9KRW9fHX604GdvM7DuNWcVWNZbKpkpcbHUnrJ3ceXpScr8peEns+melRdZu3cAOqR7UDsncruxzG4Udtg3k9RzMb9/3K0dhYUke0hQxB9J2EbDsqq6e1cDagtAKkqOEQNuOF3tbx4bqxZjc5agGWiFJNxzAjYd/wB2ittCR1HMxtH9FCzZ+sn6NWY9fu0DbIlPUVmNo/prKhaYIIPRO57f/pQsMG8OopI3qOGX3RRG2YUn6M5j2h+FHZs5BHVjvB2VRYrWmEPj7Jw2nFWXGq6pshY6q80+g+zVhtCYbeEz1e84qyqvlg3hCF5jZy4VFoEMkqPUc9rbwP2KKlmAqW3Mtpj2gf1dcGJP5te30P2aBLEA/RLGG+No+zRHdB1cEKzG2dh+wKseg7MW2rxIAVBgGTnOIgRVeQzh+bVn9Yf01a7NaE/N0InEAdWQSIosROsrRLqnc0qIjEg4ADERhlvrqc6xupU2AFBSgvKRIEHGupCvU1BWej5W7H9R/wDYT/VR0fKxYyYuPg5fmx/VWsR2vdqK30og3W07jF5WJ8rvhUXYXbvI1HuWxS3HHFEhSlqPKVGB3CB3U8acwxM1jVzEg/ZWXoC0JVGUpBjlupg/qfZzilN0/ZUoepIHhSqHIpwi1mrqIN3UwDsuOjndV5Qmj6L1f6Jd9bpWoAhI6O6ASMSesdmHeasKLdQi1JJJI4e/8Kuin2rQbxcWoBKpVIhQmAAlI60Y3Uio62aEtEpPRKICpMQrYYwSTONaH0iDRktp31dMZsuzrSOs2tP3kKT6ikQ4NhHl6VqIY3KpF5vYtIPMAjzp2MZroewI+dNLCYuqvYYJlIKgYjDLfVn1zEWNaR/lp5/SIP8AJU4NHMg3gy2DBxShIOIIOIG4muf0W2tN1SVESD21kyAQIJJ3nCpbtMY1oy3KZXtunBQ9/MVarNbEuCUKB9RzGyrFatQ7MszedSTuKI/gnzpoPk6SlQU3aFCNikA+YUPStzkl4o1T5EDOmuk9LBsJBSF3pkHhGPOcasK9T3xilxtXMqH8pqD0jqTbXFSQggZXFJw7lFM1rt4mENG6zqbU2buDZMAHIKwUB4DDKUg7BW12d9NrYBSQXEAGd4I9CNvI7Kwa26s2pkXlIJSMzBgDeSJAHfV5+TvSym0tkAnNJGJvAQZk7JUROXUFYvLLrS4pAIuqEpOBBHcQQfCKpOuOram032B1AZ+5gRB3pxz8eOjWuxXwXG1RJBI3b56pk8omNpxLD5o4MnQd4gKHKLtbvKVnKymxpBULwjHZUq1ZSnFC/AxS+lNXXS8sNtrCQcFFTSUKkSbqRKgBlBiub1YdUAHlpj6okzzmZrHi4I3pC4YWtB7wD4CgtelmFpH0iMd5Hv2Uv/g1gDtODgE3RywoTqjZ1AXg4e4n+YUMV/SVn6JPSNQpvaEmYyx5caGzW5paCHFAJUPaMAx6HjwFTStXlIJDZCG93tE8dnrTVOrLIzkY5hKQe4jPyq75idfdVXSrTd1KEdGspVIuwFTekhWGeckYGqwzZzeTKBEj207+dak5q5ZDIJcx2lAJHLr+c1XdKarAKvNQrGTevJ7xBieFZrSoNtwRDQz/AFo/GlbGAlaSWkgCcnArYYwvGfCnitGOIIJYuwc7xj+OKaMs9YGE9y0nZuCjNQTtrI6N0b2xhOJmcs6gDZuuIbWcsb2Gz/LqftTfUcQP1YEDEnPAVEfMIIPRK2Yzy4UU0RZMTLSxgc1cD9mgSxIUEtkGPrA7RwFO29G4z0RyPtbwaOnRaoI6OJH1uIO+iGAskJ6zcmfrAbOFTOhVJQlRUAgYbZnEztpivRhSOsgjHif7U50foxbhAQjCc9ncfwoEtJtpddUpA6piNmQA91dV+1f1TkypslEHrq6qZ3Df60NEtUNaiQesf2kfjR2FkEY7ZwUj0k0X5+r4QK4WxX+yRWln1d7DaSpCVKOKgCeZxPmakUOmo1mxLSkC4qAABtyHCj3inMEcwRXJq/Uql80cWg7qi2n5MDGnzNjUdwohym10KLSDIUCROMEg48RiMIpk+0tHaGHlSLCjB5n1oH9kSUqnpFqG4xnvJzO3xqRQ/UKldKh2miZD9KC0VDJfNKC000Sq3sOZA7iQD5UVzSKEKhRSDnBVB7pONRblqwz2j1FLLfvJurhSZkAgYT8fEU1Uy3bUH/fhPvpdC0naarzBSkQkBI3DjiaWD9XUT+Gw+VARG2oVL9LofFNDu1NlQjfSdmsoScBAATs4q/tQJtHKhs9q6y/vD+BNBKsOkYg07Ta57QCuY99RKLQN1Lt2gVRJdG0rYUnhj60i5omewtKuCsKRQ4N9OW3ONUMnrCtGaDzBkU1ujlzFWNm0kUqpLa+0kcxhRFagcD8fGyiqsoOSRzEH+9WB3QSTig00OhDsnCgr7ujxuT5/3pI6LbO3HuqzfkxftC8OMz40CtEE9nwP40FTd0CNhqIteraVGYQTv6s+OdXlWi1D2Y8PdRTo5Xwfxq4M7XoIo2GOB9CQac2XRdlUr6S+gn60XfFI88KvZsKuHlTd/RV7NKfCmUNLFqEytIUi4tO8LKh5Kp+3qAgey36+oqPGiltG+2pSYzKSQY5g4jgal7FrK6jByHRsV2VDnAgjuHfTAZGo6BsbHJI/poTqM0cSESNsfgKWVreAYLRkfa/tRf8AGQ/Vfvf+NAk9qSVKB+cOhI9kLMcIOYrqV/xkP1X73/jXVe1TIwPRxauAPBu9KiTfbGBJIyO6l9GMMqWE/R4n66SRGM4Ek1UryaeaDfSh5vPOMftC776mqtotVraUq5C03jEKIMTln7qkGtcLQnBbTvglwfwj1pPpMT8caOF1jsuFbTrIktB1xCUCer1QFq2YgExOOE5Y1Bn5QCk4NEp++AfC6fWq7rJpLpXISSUpwHPb54d1MW7HPaMcKuI1PQOtjNp6pwVtSqAY9COWVSNs0c0hRh8IBMpCwDgcSJwnE+lY70KkEKSSCkyCMwd9Xuw6RNrsw65bdbOKkEgg5HI9kgzHdsqWKsg0ao9lxpXfHpNAqwPD2AeSh74qsHR9oGKXkKO9baJ/aKSaOly2IyShXJbg8isAeFMgsBacGba/CfSaIXozkcwR61EJ1htaO008eS0qHgGz60snXdSfzgWOBZA8+kx8KdTT5bgN3H2pwO6TToKqI/xeysgLbbInEwrZlMpwx47DTtnTljVmi7ycT6JVU61dPgqjBVJtvWZWS3k8wY/eFKIbZVgi1JncQPcRTAcLowcoRo9fsuNK7yPxrlWB4fo5+6oe+KgMHq6zvdoz7R8sPdSCkODNtY/0z6UjZ3sbpkG8cCCMzIz4EUEw2+aeNXjkDTFspSBjjTlGnW0YKMd6R6mqHgcWMxR0WzhTix6YZXHWAn62XjlSls0ZfSVIzGMDbVBGreN9Htel0tovZmQEpGJUo4BKeJqvKcIMHOi6OSpy1g4Q03eQDHWW4Si8JzupB/aqz0WNOkLYmCehSTHUF9ZAP1lSBPACnS7XbzdPRMJUZEKU4mbsEHAHj50jobQpKlXnFGFlWOcxCc4JjHGi6QtamnkKXMoIyJIKTgs44GEknCt+JXMWzSCyQE2bAwTecIBx3xORpxaTbUoKiuzHCboSuTug9JBxio232BS13WCqSoqUZ6sKTIMjEzlke1xxcWbV94oCgoSdnSTH7nvp8RWv8eLSQLSi5fN1vokhckGOsVOpCZ2Y4wd1Iq+UViJ/4iIvYNMjC9dJxeORzGe3Ko3X/RV1xSVi50iZJJBAdHWvyMgTifvK31nqrRBJUDnfUNvW+itKeZOPCK6SyM2NQc+UFrHq2qRfw/4YYoxUPaxg3uIy3UW0673O01aR2ovKaTN0XiR9B9XEcjtwrO9GaTLDiHQAtTRBg7VMKu7f8pU801YbVrG24yUvXFLSDihJvLKFANdpXUASslQEDOJCq3OXGpibc18E/mVEAnE2gDIpBPVYyhaVcp3RU1ZHLO40h9a321KST0aHVXQoKKVSomTiFZRlhFZMFmLu2Lv7jrX8ifCtY1DsbL9kAeVdJUpSDOxTrhPdINY5ctiyYQ0mtIKVIMpUJmSZ2TJxPfTPpuNSetFnZbbQlpwOFKiDdN6AYIlWQMzhVa6SuNaSPT11R3SGhoqqL1FB7L48P71VdMWBVneU0TJTGI2ykKBHj5U6b02+PapnbnlvLvqiYA8Mqk39Lix6I0st5SEhBLkQoCIUBJvDiIOHGpTSri22lqIKTdIE7zgKrOrb5YdDhmQCBHHA+VTusmni9ZlIk4qTMjcb3uFZsur5ioWdG3dVwsWqigGC4hay+ohISoAIuwVlZzlIInZiBjUFqxZgt9lJiC4JnLDHHhhWoWO0KbhBVJSpWRwxUTI7gPKukZZ5pOwJbUsNqK0oX0a57SFYwFbwYVBAzSoGIxbaEtnQP49hfVV/KfHDko1fddbQ2QSWh0loSoF0ABSlNI6VIWRio9RONZjahKaWDRkWnfnSqXxVNs+tUgBxIvARM3QY29UjGpSz6YSrCCOAI96Sa5Y0sKXRRwuodNsTxHdPvHpSqbSk7Y5z7gaB69ZW1EXkIOO1I3GkHNB2dX6MDkSPQ0TpsoV5jcd5nypdLx3z3H1inoZL1XZzSVpPAj3iuVoJwdi1OjgSoj+L3U/FqxiRO6RRxaDtFXtTEV+TbWnFLrZ5toBPM3CfOj9LbkZIQr7q1jy6QDyqVFqFHFoFO1TEWNY7YjtNPdygR/2yfOn2h9YXXkqDghKRKiU3evJJAM4gDlGApyHhvqs61aXuNqaTmucZyBWqcOQjvq7oi9YdaXHVFLaihvIRgV8Sc44eNVw48TSllYKzuAzO7+9Pg6lGCR3n31rENbFanWTLaltngYB5jI94rUPk++UVV9LL0AnAblcvqK4ZHhhWbqtJIBPZ2HZ40k4AccjsIwx2HCmD0XavmqzeXfk7QY8gIpIaMsiv0yxwN2PSqdqvpc2izpUo9dPVX94Rj3gg99SJdqKtLGryJlq0AcgAfFJFPmdWJI6R1Tg/5j3iOvANUjp6E2tWxR8aaL6rVpCLvRlabohJvrMDOJJOFHQy8iYdOOJlKc9/ZqhI0i4B+cX+0fxpFeknP1i/2jV1Fl1h1aFrnpnV4x2QkZYYSg1TNPahttpceWoLABJIDraiDAM4qQTvN1M5nGTQW7TDgH5xf7R/GqbpvSzilC84sgZgqOPnWpyHK0I2AFF2AokJmdogwY3ApxAy5VZtFarWB1pK1PlKjMiHFQR1VCRgQQkZbqpmmn+o2nYMvAH+al7El4oASlJCUhXWLmR4AxWu2fjOL5/hzRaMVOLV3HifaVvJp05pTRiAkFxcIASmeiwAyAkkxjlWeWmxPXFLIZACScAZwEwJGdQtvu9GgyLxEmPw2U72LkaJpHXGzBwJaBcZIF8G7IxxKVCCCBiM8qV/KtlGVnWRvL5E91wx41lVjWcYqy2K0lSEnbHphWLVi4flWzf/AMy/+uf/AI6GqbpC23EYZk4UNTVXBOqlmHsUoNWrOP0YqUVNIOKVQMxq5Zx+iT4UL+rtnWm6psRwwPiKM5alDYfCmbulVDYaCE0hotqyWqzqQmGsFKBJVgFQ5n9lQqw26zFt1bZIMK6qge0nBSD4EA8RVd09bi6kYYoMjlkoeh7hSDWlmltJQ8hSrhCkONqAWLvZSsEgKA+JiaqJ7S2sDQYtVmWi8sNpWgkdhZPR3knYYWQRtCudZm8vCpvWXSweX1EBCcJ2qVEwVHheMAYCTnVcdVSi1anPIQlxYS8FCApbbTbqQMxKVAkHPEDKrFo3QqACttSjOH0jSkZY5FKjtziqXojSamEXUmJN484A9AKdq1kc+sagupsOy6yrlCT+8tJ8qSc0UP1Cv9BWf5LvnVMOszn1jXJ1ncGRjlh6UyCzu2FsGLy0ncbivJKp8qTOjyMnAPvJWjzUmKg0a7WgCAsxuOPrR29dnAZLLJO03AD4iDUyKmk2d72VBY3JcB8poS08n2O+6PWKjEa6tqP0lkB4h1Z8ErlIp3ZdZLIfZtDXe3H/ALd006mlvnahmnzV7yR5Ub58BmFd8e5I9aXb0pZ1ZWs8ltq8ysrpw0QrsvWZR3JWJP8A26nUMhbEb/KP5jVL1gdCnlQZAAE8YkxPE1bdL2hpBKXEpvZmHBMEZz1x51R7UoF0x2SrDlOHlVkwpyBdSEjPM8SfiKv+ruqUWd5aQHLY2gqCFAEJVdvBtIOF77W8Ycapq3Zw5bGUnIuA8OrKhPDCtJ0JopyzWi1Fa0rS6pBQUGQUpSd+IOMRwrUQGgNFWxFmdW8rpLSsdRq+kBO5Mk3Ss84yFUW06HeeSsrsrlnfbBKgG1JbcAOOF2EuDhgrnjWq/PxN3/bCq7r5rLaLO0lTXWTeuqvSQPq7YGOHOteCofJ/a7rrjexSbw5pMeivKro6az5p4MW+Rgi/luS6mQOQvjwrQbPpVqOsknwrlfqwztjXSJKZjIjMCQZAMbDkedJvWZpMFSHGxGIvupE/ZUCUkcRhUobbZ1bx3ULa2hil0o5EikpUU1ZmV3brzjcgzLpVBkATeAGU5E02tTC2lIPSqcQolMm6YUAVDFOwgK8KsFpcbj/8m9wKifWoS1uoxh1PiKorGsr65F1SgAMYUE48ZzquNX1KxJM4YkHHuNT2lXkgyHEqJwggKBG4giCKj7OEgl26lAB6qU4AqjCBOW01Ygmk1XlQBgCR4dUeSRVmsWjrepCejsxulCQFBLmKYEHBMVVWpJA8/fVts2s77baWw+QhCQkCVYACAO1Wpyk+mHLmqelHEEBnAiIhQzwzUQBUc38l9uiVJbRxU42PxrrVrU5GLoPMz76hH9anvZUmOQq9p/xMPdJ6mvWRPSOOMKEgEIdSpQngMaZWO8lCjdUUpMlQSSkcyBA76bptz1oMrV1RjGQ+OdTeitam2G1NpQVXpkk4HCMRurF9+LFZ0jayszsGArqb2tSSMMDJwAF2NkbqGg3q7XdHR0qowNFIlkUmuwpOYFO4oSKCItGgWlZp8DFQtr1CaUZStxE7ikjwIq5xxoYoM4f+Tk+y+e9E+iqaK+TpwfpQf9Me+tSu0Ba4UMZO5qK6NpNMntVHU+yrwrZOiHxNd0IoYw53Qa0+yfOmy9GrGyt2XY0nMCmr2iGjmlPgKGMOVY1DZSamCK2d7Vlg7I5VHv6osnIkUMZMWzRYNaY7qQD2VeVR7+pDgyANEUSTXXzVqf1SdHsGo97QS05pPhQQ3SnfRnHQTO2ni9GKGykFWJW6gltDWvo3m3M7qkqI3pnrDvEitG6R5q1dHBcsryOlYdAJCUwCUlW7GMcct9ZVZiUxIOFXfV3WVKUBp4rUwCYCVALROdy9gROMGNuNWC23hM7ajW9Y2vnXzVxvpAsdYESkjO6oRkQDjUahizNP9OnSDi0Y/RONOpIkGBABSY4bqi9YdMsXlmzIUlTiQlx5fbUkAApbTPUB2nOMONUV/WK0pcfdWnsqWbv3R1UfupFRtmJUsJ6Qtg+1Jgdwrn3Jpqo1kWqx6Ox//YEckk+rlTbGi0kY211XIND1BrOgs0om0qGVBc9JaIeTfU2/fQlN7GAswJICQmCZmO6q5pFa21FKnCdxGSuWA3wd1IN6WdTkfWhtelnHU3XAFjZMyDvBnCgSZcBOKppZ56eAHlUZ0ZoQyd1Ad54k4YCnOi7At5UIBO0nYBxotisgKhfvBP2YnzwHnWgaC0rZ2UBDbZQNswSo71HaaCqK1ddHszSKtX3vqGtPZ0s0qnLb7Z3UGVu6Ofu3Ut3U8MzzNMlaGe+oa2gIQd1G6JO4UGHOaOdGaFeFdW3/ADZO4eFdQOwqjJI2iipNGBFFdhRxQA0MigNe4UN+k71DhuFAugTlXK5+VIhIo4HGilBR4pMjlQg0AloHZQBkbqHvoQr4/wB6AOhGdD0IowVRgqgT6KgLQpauoGymBuoi7Gk7qexQQKCJc0O2rNI8P7Uxe1ZbVkI7qsl0UBRRFJtGpwM3SO8Gq9atRLSDLZbPCVD1FauG6At0MY49qvbk/or3JaPQqFR72r1s2sL8Un0Nbj0Y3+lF6NJyjxoYwZegLTtaWO6iHQr36tXhW9Ksid1Jq0endQxg/wCSHfqmg/Jbn1TW5r0Sg5pHhSX5Db+qKJjEPyev6poRYlbjW1nQSN1EOgm/qjwFBjQsKtxpRNgVurXzoBr6o8KEaAaHsigyVGjlbjTtnRq9xrURoZA9kUf8mpHs0GdsaOc3Gpax2RwRhVwTY0jZSqWBuqiCs7asKfNoVUiloUIbqKaJQaCnhTQ1Q1TSm344UFdUHE4UqjKurqBVWygOfxurq6gTVXIz+N1DXUHNGlAfX8a6uoBXl4e6iqPV+ONdXVVKJPx30oT8eNBXUAtH1oUnCurqBQfHnRk5murqgNHa+NtJjbXV1UFo7OR7vdXV1ACq6PWurqADl4UG011dQFUc/jdQg+nvNdXUQZwURVdXVQmfjwoU0NdUAbvjZQKoa6gKRiKSXXV1AANKp2/GyurqAhrq6uoj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20" name="AutoShape 20" descr="data:image/jpeg;base64,/9j/4AAQSkZJRgABAQAAAQABAAD/2wCEAAkGBxMTEhUUExQUFhQXFxQYFBgXGBcYFxcUFxgXFxUXGBgcHCggGBwlHBcYITEhJSkrLi4uGB8zODMsNygtLiwBCgoKDg0OGhAQGiwcHBwsLCwsLCwsLCwsLCwsLCwsLCwsLCwsLCwsLCwsLCwsLCwsLCwsLCwsLCwsLCwsLC4sLP/AABEIAKwBJQMBIgACEQEDEQH/xAAcAAABBQEBAQAAAAAAAAAAAAAEAAIDBQYBBwj/xABGEAABAwEFBAcFBQYFAgcAAAABAAIRAwQSITFBBVFhcQYTIoGRobEyQsHR8AcUUnLhFWKCkrLSFiMzovEkQzREU4SUwsP/xAAYAQEBAQEBAAAAAAAAAAAAAAAAAQIDBP/EACARAQEBAAICAwEBAQAAAAAAAAABEQISITETQVEDYXH/2gAMAwEAAhEDEQA/APNKlojNrhpjIxOaidacJLTjlMxx7kVVoX715znSWkzhiLwgE/m8kqlZwpgMcWuBMg4zlqVjtF7gxahuOm/JTs2g0e6c+OSFO0KpPtA/ws+Ss7IahA7DXTETAz4BoWsa7IxtNn4Dnx9n6C7+1Gfh14+z9aIt9E+z1YBOAOQB5xGYw3oWxVDSa2adNwLnNlznAyCcMDAxGceeIkh8lNdtZmPZ4DE+yus2k1zoa0SRhPeSp2bVoEtmmAC5pe6/VhrHHttDZ7TmzpmBlOdts2vZDUu1GOFN7XGm8Pqul3ZIbdbJJh8nDs3TOquQ+SqBu1mfgGUHj9bk5u0JbeDRDZnkI8M/JV9m2XXewObQrOGV5lN7hIwIloiQVLYWG5WBwhhw4iQcN+iYd+QgbXEGG55YZJ37ZM5f8781TsyTiEyHycv1Z/td13I4HtGN5wB3Yrh2yZJjTDggrI5wdLASYIIi8HN1Dm+83DEHdwR9bZPvNgYYsmSx0kROrZGB7jvLInycv0wbaeAB8BjzRFC2VHib0TpGUYYblXV7OGxOM5QZ1IOR4FGOsr6RYHeySfZIJDvwndj6FPB35fp9Si53ZLhHn4qF1iP4vX5qV1QhrnY5xllABaMx6FD0LTMy4zhkBlrKRndStphhweSQMyMzlI3AJVKRJJDrpwmBIyB1yzUbA5xBacSMMNJ3QpqlCoTh+7PO62dEHGMfBaXkgggDKDoUI6zuHv8AiP1R1nstS9jEY5iRl3Ie00HNJJdA8c8hkgiNmf8Aj8kjZ6n40oP4/IpwoOOT/JUMNnqfj8z8k02ap+IeJ+SQaT75108dUmtcffd4fqgVKzPDgXEEa4ootCGFN0TLo5H5oc1Dx8T81AW89oY4EFONPcSECHmQdye61uG7wVBXVcT6eicGBB/encPD9UvvTuHggNhKEF95dw8EvvTuHgoC4ShB/eXcPBc+9O4eCoJe0pIX707h4JIDatchoChFXA8/VdqYhRUqZIO7D9FiSRE1KiDlAwx+irrYtnqVKgZSdeJhrdGgkE4k4ABoJ7iqdrgMs8JWp6CNINV8kCA2RHZzvHHWLoHF+4FanmjT/wCE61W+37xZ5b7zWViJg+91d0uAOmSAP2XViOzXs5OME3wc3ET2ZnteSrtobcrPrFlFwaxghxz7hMzvnXEnFRu2pbdKojiD8IWtn4qd/wBktt0q2Z38VUf/AJKFv2WbSY4OZ1QcDIcx9QEEZEEUwQUz9t24e9SPM1PmoqvSu2MIvClr+M5R+/xV2fgvbJ0X25SqCpdp1XRdN+8bzPwvNwF0HEEmQZ3mRbT0I2jUq1qtSz9qox+DXC7fIAbEkbkHZ+mtoIJu5Zlpgeco2l07tI9yr3Od8GKeBQ/4B2kM7I/+ej/em/4It8i9ZngSJN6kcNcL+K1VP7S6zc3Vh3k+pCNofaq/V9T+JrT8SngZT/CFqY1wpsqtcTmSMREH2fXjkhrH0bttNxJoVL2ON28Dlg6Di0xlhpiF6NZvtTBzcw/mYR53QPNW9i+0Gi/OnRd+UifAEpkLdeN2zYtcPDhRr3S8O/06ktObgezjGHajHnIEtrp1CWh9OpAk403tBOMYRx4fFe6P6T2ZzCWUb1QeywuDZ4Xjl4K8sFGhVptf1dwn3XFt4c7riOOaXjEfLtcYYka5kAhsxAG/XTMoa3VJJAjP3QAMo0X1fV2FQdm3z+ar7R0Jsj86TD+ZjHeoTIPmUtIZhhhhjMdoYSnW6m4EGTBazU/hC+iLR9mtieINNkcG3f6SFXWv7JLI8z2hgBg9+QywMhMivAWOcMQThjmUZaat+jJzkDvBGS9etH2LU/8At13j8wa8HmBdVJtb7JrY1hFLqqgvAwDcMYSA0yPNOqPM6MDNHgtu4Z/CURtjYVezR19B9MzGIN3hDgbvmhWR2o0bjzUsWKyzkCc8n/04KIWjEx9D5pzQQMfwn0QyCxbaH3JJESRx91Dxiu0SQ3mXeENSnFSTBG8enxCje3FSk58h6pkY9yoaW4SmX+CccimNGCB65K61N3oFe4LhPBcJSJQdSXZXEB5kzuCbTMCOMrpdpvUZlZiHNYSYAknIbzoBvW0eBZLNdEXz7R31D6howHedVV9GLJeqGqRgyA385+Qx5lql23VLq7WaNAPeZj64qxUlhbDQIIOs6k5lS31xjpClpUc5yV9HtHms9tWreqEDQx4emPor201brXO3AxzyA8Ss/YmFz54jxJwQHtoXKd3eQOZJxR9kcZjg70UVXF7QBlJ+HqUUx108SHT4ZIK63ODSJxIHhJ/RVdWvMp1tJc84zl5D9Sh3MhTF05gk9yJp0ZwkjulR2M4nkihMk8kE9mt1Wl7FQwPdOLfA4d+BXo/RDpO60Un0mvNKoQAMfZfmMTjcdEHUAnGQCfL3twn1yXdnWqpSqCqwSG56S3NzfrIgHRa42pXpzbXay43q9piSCOsIukEgsddjEEEHkjaFC0OP+rXO4GvVjlg+Uyy29tRjLSyCHXG1t14w2nUI44U3biGcVespB0dWQCRgP3tW892/16TlIxZQdns5mH9cDr/1Ff8AvVtQ2YCPaq//ACK/96Gv3jdf2agwBPod6IDnsIvCAcjo7kV343jy+nDlOU+xtPZA/HWH/uK39ynpbPIMGtaAN4rOPrOqVnfIlS1DIB+sfrzKzeMqzlYlr7DL2lrq9ZzSIIf1L2nmDTx8V5D066Bvsxc+k0Cm/Bpbgy8fccCT1ZOhwbkOyvZLFazETMehyPgjqrG1GlrgHNcCHAiQQcwQuN2eK7ceUr5ErMcLzXYFoIIIgg4CDKD6gr177Sug3VG+z/TdhTefdOlKqdR+F2emmPk1ek5ji1wLSDBBz/XnlisWNusdDWji6fJMC6G+z3nzXIwUDQc/4fVNHtJzG4/W4pDNAiFG8KVyY4YkbkDAUx3d6f8AKe4ppQMDVyFImOKDiS4HJID6m8fD4JtQb06scoH1wRezaAqVabXZSCeQxjyWRr9l2bqqLGaxLvzHE/LuQ+17A9z21abQ8w1r2zB7ODXDfhAIz7I3lWUcQpGNOmPIg+hWhmWbQdRAa4Npu31G1ZPDARCVLbDi4hponWLtWOPvrViuRgZjccvAoZ9hoO9qjSk5kNuHxZBQxltt24uAb2N5uhwy/MTnPkhLBgMRrhOvH63rV1+j1lcIDHsO9ryfJ0hQHoy3C7VOGjm+Ug/BTFU7a4a4nseyAOy6MTP4pnBJ9rfHZDNcYdkebijLR0ZrXiWmk4TgLxBjd2gEx2xrQM6Tj+WHf0kp5XxVYae8Y6oOs2HRuhW1Wi5vtNc38wI9VVVTLieKTSyC7JQALXd8KwfahuHgEIxhutjQYpjakTg71+C1KzyghtWmew8d4EQTuCc97QSG5D6yQReM8uYwU9JzQe0JmScwOERlyVlz0z1l9tH0M2oKNV1F/ao1A6GnItI/zWeEkcjqVtDUNNxpkl0XXMfq+mZuP54EHc5pXmrrSwlpuAFpBaW4EEYgjTTUFb3ZVpFoohrcajA59Eavb/3aPfdkfvMG8qz/AFa1VnqttLbroFZowP4hoU2ja3UyadQSNWn1G5Zyy2g4OYdxaQtIa4tDAThVA8eCvpPayokBt5hJZIkat5/NG3cOB9Fl7PaX08MQQYIO7irvZtvBaB3wdBqtzlWLxgim+HeR78R5/wBQVlRrQqDa22bHTMPtNCm6DLXVGTw7MyMfRCHp1YR2XV2lwAMtZUcO4hsFW2VjrY2NopMq03U3iWPBa4cCvEOnWwupqvplzGODQaLiHAVGHWR2eBAggyQDMO9L2R0ustZ12lVDnaNIc078A4AlVv2hbS2fVoOo16zW1m404a6o9j4kXgwEtaREzoQcwFjrn/HScteCWqnUa2HsLcTMgxIMQDkd+GeeSBJWnr2lpp9VUeCIaW+1GIDmgmOI5eKparaYzZ/u+S52Y6AKbpJ+tQuDMopjqejfM8EqbWkmGjLjn4qAOo9Na6XHTMqwq2ZobMYzvMIM0cZ7kAzyuqYUAmvEIGuUblIHb0whA6i1JKm+EkBzsQIRnR//AFsdGyOYI+Eq0dsABphpkZYz8FFsqyXbSBBHYMz5/BZIuvvQ1wRDXg5IepZVAbMQcJB4YKrFm2qRkSORKeKp4eA9c1VtrOGePkURTtQPA7jmi9U1q2iykAXgwTEtnnjnopLHb6dQEsJImMtYB+KHLpEOGBwxxBUlma1ghoAG4b0QYHbiPrmpGuO7wxQoeleQGiu4b0NWoU3mX0qTjvLGk+JErrap3oW27QNNl64X44gaAziY0+aol/ZdD8EcnO9CSPJQu2BS0fUHO670ATdlbabWJAa4ECTOWccVZ3wgpqnRs+7UYfzNLfQuQFp6N2iZbcdyeP8A7QtUCPqV0D6zQYmvs20MHaov/hF7+mUd0St721DBxa5rmweEO8Lrf5itNUJylDU7M0ERhme/D5q6mNXS2c+sTVs4p9rtVKLn3HCofaNM3XAtccYMQScYMC82bsBzxea8biJgtO5zSyWkbjBWPsltLciQtBY+kVTCSHR+IAmOBOIWuyYJ27ZK1OoxjKLqxcDLgYY2Mg5wxB/hVNS6P22sHNrMa1pkHq6YqNc06duow+IK2Ni6VNODmxyy8M/NXFm2tTfkR4wfAx5Sm0xgLJ9nzmC61xu7jTDRyuNqXfIoxnQMAQQw7/8AKYDxxMyvQG1AdfgfApydjGGq9GqlMNFnqU6WYebtMm7+40NAvc8FSUehIDw6o+pVdiS9910mdQdcZyOuOS9RNMHQKN1kadE7Jjz+2dFqNQC+0ugQDImBpN1UG2vs/p1R2HPa4ZEuv4DIGcx4L1l+zxoUPU2aeauyj58t3QK1U5hgeP3XiY5OaPKVSVdnvpHt03MP7wjwlolfSdWw7wgrRsxrhDmgjiFOsNfOltpm4TIwxVQ6uV79tXoJZaoI6u7P4Dd8hh5LDbW+yh7caFadzaoj/e3D/ap0q9nnNN5JXavwVptLozarMSa1Fwbj2x2mc7wmO+FU19O9ZxXG4qU2V/4fMfNaulYmloJiYE9lmcflXHbOp7h/Kz+1BkDZn/gd4JLXHZlPcPAJKauNI4SML38rvkq+rRDaoeWnBhE8See6VBU2hVaMCR3z6hKybQqvdddBy0Aw1xHMaJqDG2lp97xUo7lG+k05gIDadZtBhePaOAH19YBUWLmg5qN1laeSwFbaFVxk1HzwcR4QcFd7B6QOvBlUyDg1+oOgdvHH6EXWgZTcPZMjUH4JhMTdMRm05jlP/CnrWlrTDhnqFxz6T8yRu0I5aqmhW2x+4Hyx3c1KLaB7QLeYUVosb716m5rsIIOBI4xgfJE0Wuc3tMnhIJ/UI3vG/SWnaAciCu03GBjp3HDVVtpsUYskHdj9BKx7QgAPx8JHzVxi59LRjQMgBOcABSX0ylDhLTITriiJg5NL0wApFF1IKyfTq9o8m+ZdPoEPCdTzPJvx+aA5rxuUrHjiPNAtcpGvQWlKt+8EZRtR/wCMfRURcnByDX2Pbb24XsNxxHgVe2LpENcOWI8Dl3QvNm2lw1Knp7RcNyuo9dsu0GvGYPL5Z+Eotrgcl48OlbaLgHm6TiIvHDLQEDvWnsHTWzvbP3ii14yD3tYHfumT56Zq4N2kSsmOm9jgH71RxExfbI5gZHggrV9odjb/AOYB5MqO/pYU6prcqN9FpzAXn7PtGszsA+sSZi7Z7RjrgOrxwCAr/aNTAm7WPNoYfCo5qs4/6lr0apYmb4QVawj8TV5jW+1Bn/pPH5qlAf01HHyVfW+1Yg9mlT76ryf5RR+K14n2nn8eoVtnDRzO84fovP8ApR0NsVe8QBSq49qmAJO8tycDvwPELO237SLS/wBlrQONN7h3HrG+YRdgtlS0MbUqV3MkYim1gMBzmkdoEyInA6p2hlVtSzFhunMYc+Kic1H7RosY7suqOvHAvJJy45DgEI8LlW0KScUllV9VsjTm1RDZzcwDPcrkjv8ABJBnKzC0w7A+R4j5LHdKLSXVbs4NAEaScT6heqFoOBC8m6RH/qq0ZCo8fym78FYVXsZGQk/WS64AhaXZdg/yXNBLXua03wMQSZjPQeaG6QWO64dkghjXB+YqNm6STq4GJ17XAKosujtu6ynDsXshruI90+UdxVk6zsPujuw9Fitm2o06rTMNdDXcjr3Z+K1rbTxnlj6IJDYW6EjvXOoqDJ888Pmk20/QUnWg6wgj6+sM2z4H9VA57HAX2Rxyx1id6PbUC5Qf2W8h6IA7Mym3FrnDxhWTXg5P8VC6iw5tHgo3WNukjvn1lAaA79098JEnVp9UB91cMn+I/VdBrN48j84QG9YOXNdoEEu7vRB/fnj2mnwn0XLLbWvqEXRJIAI0AE/EoLIJ4cAqDbe3hRN1gDnxjOTd07ys3U6RWkmesjgGsj0RdeksAK5UpEY6LA2PpZWae2GvH8rvEYeS2mwdv0q4wOI9prsHN5jUcQiJL6Uou2WIjtNEt1jGED3oANuvc0Me0gQ4g4TgRI82+ahs1vdfDnNpvn2iA4AaHvVharOKjCw5HdocwfFCWfZNaCA+mRl2g5vpeXH+vy++D0fx+LM/o2nRK1B7Ht+7U3uZBJgHsukgmRJxkdyItdMOkPIY0ggxA8tyyOyH2my1S8OpYsuwKlQe8CJ/y8sMkdaekFZxlwo/73eV0LrwvKydvbj/AE6zlevobbjeaKjIDacOGcyyDUb4gjkvPOltkDbU8gYOAdIaDpGZcBotBadp1XNe3rGhrpwbTyvYujtZST4qu2mbNWFMVnEua0CQMThjhOGInPVdHNljA3D+KiPSSj6m1mOoim4taGjANaZLoiS9sEy4Ak7iRztqGzLIcG0ieJvN8ySFobL0Hrkjq7ERxqCAO9zQUymvNesacgDyY539b/gtrsZ7adKkKstkOIBEH2nEYBapnQOs0TVfQo8L7Q3xJPogrVsGxtwqbSs4MQQx4qRwgNGHBMNUe17e2rUZcbdAOMiPLNMe5CstFkbVfT6174m48NAaY3AicscfJU1TpC0Ei46JIBwxjVZsalX0pKgHSJn4X/7fmurI9Xc0d6bKe48VE54UVwlef9LOjxpmraA+WufN27iL7scZ38NVuqloaqbb0VaFRkYlstx94G8PMIK2nU7LeTY/KRI9UJtqs4U4Aljr7TngQxz2n/ag9m2tzqbQ2C5kAtOB6ucxvjdwTdo26oxtWm6A19y7vgYuPw7yqjPuGCsNn0nXHuNUtLALrC0uL88BB7PMg5qucVe7L2i7qwHkOE9kOa0gAd2+VQ+yWlxaJdjud+qLFocNPD6hMO0qR9pne1x8mulvkk2tZzk8s/M0j/c0wPBRUzbYNcOf0FJStAiJ+vRRtsZcOw9lQfuuY4ed0+SFrWQtxLbve5nheEFNMWza53/XPJPbaO/liqYNIzvjmJ8wpG1SfeB54+qamLkWgKQVRvVL1zhv8Z8j8k9tqGp8Rj6j0VFyHoWpbBTFRxyDh5sZCFbaPoH5wqvbVU3CZwdUBAwnssA9UFHaqpe8k5uJPikGAZ4prcMdSiqVjF0PqOug+yAJc7u0QRAMOi4wupuD2EhwMgj68tVY7Q2JcIa18uIkMMBxjO6Rg48MOEoCzvGRQeh9HekTqtI3TDxg5uk/I6d40T29IxMPptJ5D4LD7ItXUVwZ7J7LvynI9xx8d63rgDmAeaB1PatmdnTjkY9UTYTY3SS+s0kzhUfA4BodHlnKrnWSnndAjHDDLkh6OyWwO08YDIj4hUaB1isLj/4mq7k5/wAEx1k2e3N9V3N7z6uVJV2e38dQ8y3+1V+0aVOmxz3F5AGU57grqY0rrTsxudG9zLP1WJ6ZW6zvqMFmpNpNaHXog3iSInAZR5qsr7VZpSPe9yrjUvOmInRLyMHVtp1Q1rA9wEREmIJOETuVzaOkNquNBfaHANAF+u6IAj2R81mS/tg5wR5QrO0bWe+Gin34qaFb61VrS8tYPFxOMZk8UDaba+cHQOED0U1trVHi65l0aZ7wfggzYjpJO4D69FFNpVTeDpMznqrW2WI1IknCc8cDiqd1NzTBBB44YHBaqhXaWtymBOOsaoKL9kHekr9xxiD3YpKaPQH1OKgcZU7mKNzEUK8IOvZyVZupqM0kGD2psOq15fTbIJmGnEHWFT2ihVntMeDxa711XqJp8FEaIKI8r6p24+Cn7W5ejVLA06IOtsVh0TVxgnXlGSVsK/R4aKur7AeMsU1GdlGWbbFen7NV44EyPAyp62zHDRCPspGiosaXSN3v0qTpzLQabjzc3FFN2zZn+02oz+V7f7z4rPuolMNNBq6Iovjq61M8LzqZ7mOn1Ur7FUAxa4j8of50yY71jS1SUa72ew5zfykj0UxdX9WnnwzuuHmCqq31NJJE+aY/adVxl7i8xHa3Idz5HGVUFWCgH1WNORInkMT5ArX2drKzabyJLHPu7g5ri2Y1IIwWV2I+K9M8Y8WkepWtswaAQzAS7DcSS4jxJUD9o7NpV7pe0h7RAcwkEiZgjfxzWU22GX+spmQ4kO/O2L08w4HnK2NKsWkHcQVnulGz20gXU3Asq1L7W+8wlr77TwmI4edFU9t5gOow7vqFp9i7RL6Qk9odl3Ma94grL2d3ZI5JtG1upElusSCg3Fe1G478rvQqQWyFjP288iLoxwzhWNj2w0jtwO8/JBd1beqzaNqD2lrhLTmMR5oa07TuibjTjGD5POIyVXaNpl2TAO+UHLY6l7tODvLnHylV7c04uOqaEBexizr6ZqBxZe7QYQHRByJEZ79y2j9sWNmDbK0/vVq5J7wwN9V53UqTgEZsnZ7qzwxgxOZ0aNSURsH9LwDDBZaXFlG9H8T7yB2l0oqQ3/Pe+9JhhFMCDGN1oI18E93Q+QZNwgNAum+CQO07EAiTpKho9CHz2qjY4AyfPDzTVVdNlS11Bgcsy4uw1JJ0WvobJa0AXsgB4KSxbJ6kQ0DiZEoltIe8HBABVsDJwjjkkrL7o0+8uoLyFy6pYShRUF1cLFPdXC1AOaaaaSKurhYgCdSTepR1xNuoADT4JpoSrA00zqQgrX2MHRCVtlMObQrzqk00kGUtHR9hywVdX6OnRbp1PgmOoBB5xX2K8aIKrYXDQr011lQ9SwNOYCI8ydZyozSK9ErbEYfdVfX6OjRUY2mSIIwIIjnmCtXZ6zXnrmGLzQKrN1RsQRzHwQNt2G8AwJ5BVVntD6TsCWnI7iNxBzQaWzW8VmvDJvNBz749FnbXUcGMpuJJbLiDjdvZN7hj/Ep3bXfjdFNhOZa2CfOFXgElAVZh2e9C2w5BGFwAhBVGEmUEEpXipOqS6pBGHneVJ1xS6pdFIoGl/BNcCVMKRUjaZQD0bOZE5LbbDt9Kmy62kGTmQZJPEnErMU2lGUXwg3NLaDCp22oFZCz2iFY0LSgvnOBUJok6+aCZUlEtKBdRxKSe1qSC/CdATAU9qg7CV1IJSgV1K6nrqKiDFwtUxC4ghLVwtU4C5CCEMXLimawJXUA5ppppogBNfmggNJMdRRJzXIQB9UmmkEddTCwYIAjZwg7VsmnU9tjXcwJ8VcGmFG5qDK1+iFE5BzeTp9ZQh6IR7L3d4C2YSLUu/QxJ6MxxXDsFbQhN6sblm8s9r130xTth8FGdjcFt3UBuTH0G7lqXUxiDsc7k39lnctr1LdyeLK06KXlnsk1iRs3gnDZp3LYmzN3Bd+7NjJTuvVkW7MO5Ss2XwWnDBAT+qC1NZZ5mzESyyQrY0QCuXcVQEylCma0qe7gutaghAKSJa1J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22" name="AutoShape 22" descr="data:image/jpeg;base64,/9j/4AAQSkZJRgABAQAAAQABAAD/2wCEAAkGBxQSEhUUExQWFBUXFxgYGBgYGBgXGBYYGBUXFxUXFxgaHSggGBolHBUXIjEhJSkrLi4uFx8zODMsNygtLisBCgoKDg0OGhAQGiwkHyUsLCwsLCwsLCwsLCwsLCwsLCwsLCwsLCwsLCwsLCwsLCwsLCwsLCwsLCwsLCwsLCwsLP/AABEIAKQBMwMBIgACEQEDEQH/xAAcAAAABwEBAAAAAAAAAAAAAAAAAgMEBQYHAQj/xABJEAACAQIDBAcEBgcGBQQDAAABAhEAAwQSIQUxQVEGEyJhcYGRQqGx0QcUMlKSwRUzQ2JyovAjU4KDstIWk8Lh8Rdzs+Ikw9P/xAAZAQEBAQEBAQAAAAAAAAAAAAAAAQIDBAX/xAApEQEBAAICAgIABAcBAAAAAAAAAQIRAxIhMRNBBFFhkRRxgbHR4fAF/9oADAMBAAIRAxEAPwCx9DFOQi4QRMgEknUCdWPdupTaOFNoPDu+YAiTMDr7WgjgATUji8RctnNJg8M7x7mqp7Q6Sf2StdXM/W3LQAgTlvWnUSdwNshZ1POda31ptFdJ9mvbuWjGkOCRr9yoDD4DPeJbsqV3kwdFAjlNaThMcM56xWZcrNOkIBqc0a66DQHdUnjMOxsZ7FsPnHZyuucBgYYAkDw15VNb9l8My2/auWMOps3765QDC3WCAFoIyqAJ1B3mqVe2ldbUu277xE+Mb60TFYhbmHuWCbzQurOVZTvIylTBPKOW+qKmztNWQHk1y2p9C1LjolWI9HrS21d2btAHiTxmOO+f6in228ODlAJ7ABGsTlE6keApxtPbmHFjDLZxKK6Wwt3QmTA1nq2k6Hdzot3pDgyl0G6CzZMhFu7pBOb2NNDwprytuOvBqej+IuZ3vJdtJpmzKd0iDJMECeHrURfGZR90bx3DfJHidKd3tpWHXtYy+1ztDW3cdcpMqBmII4enGkbWLw4Eda51/uW7u+rMJ6cMpdeJ5FwGHCpIH2gCfTdSzIANNKOuMsMQBdI/itXQPcDUynRq66zbK3VO5rYuup81tn0OtevHpJqPLcOS3din3Ulz/XGirb/KranQXFs32VE6DOxtyToAOsAmnX/ptj1/ZKfC4nzrhdbemS6VrBW6fBo3b/Kpuz0Hxw/YH8SfOj2+hWNEk4dpmdGTxOmbmauWetfk5fHbfSGLg6nhvpvirkESI7uPDXw+VTF7onjwTGGuMDrAKb++W14U0fortGQThb05pH2ezrM/aNcZnl2jXx+PRoT/AF60jc/r+apkdGsYN+Hu/hJpzjtjXzZtIuCvK6Zs79W3bmSNwnSeNe/vPzeSceXnwqtwb/6+7SN1dfT/AFNU3d2JiBvw94f5T93dTK/s+4D2rbjxRh7XeKlsq4yxBva0Hl8DSN5SYEmNJ4+EVJXkga6bvjTZ03f1uNcMuOV6ceQ1wSENrxJ3mB6zSFzXv8akThR99fR/9tN7uFYSYkTvBDDzI3eBrncHWZbNctcFunAShl/rzp1XsTCV1UpXLRlFamLFyJrbo4SlVFGy10mLncxEWjZaOFruWtyOVycArlsaDypSKCLpV0zvwJFAClCK4BV0mxCKFGoU0u2u9MukdxHa3ZWBaVSWhTnuuRktgkRlCEsY37pGsvtt4/EJg7BRrCYq465gUAAV5JOXXUaDWRqe401w2B2faH65j2gZZiZIBAB5jtHhSOLw+EvYlr93EnIVAVVnSABr2TyJ38a8f9H08ZNXdB7203UicAzaEL1dyTuIIlokaHdG6mD7e2pZARrOFaNNA6GRxInLPgIqcxOEwlh0X6zetsyl0gBgyiJYELHEVzDG1duLGLZ1ZWUK1lZJ3gg5RwDHeNwrV6fTnJn9sV6U4u7dvkXhkKiAiklVLds5RMCS06c6hhdVdMuY8508gKtfS/YzLjb1tGzyZUkgSoABYxu1kDwJqKtdHXmN/PKCYFY+2t6iIOKPBQKH1x+Q/rzq42thFQIBO7hxq54DZVi6O3atZxqGdEOYbspkenKr1rPyRjIvPM6UoMTcHEe6toxmw8Mt7DuLKLrcXQKoJNskEgCD9kxO6aNtLE21ORbVstG8hSB4wN9Z0d/0YwMVc7vdU10b2/csOZMK0ZoMeB8asnSXB2HuZBbAK7yIWZA+7Gm/hUZg+jiXbttFB7Tgb+Ey3oKvpqXc20HZmJN0oA0m4yqpHDMwBPkDPlWoX7uUVQui/Q65hcTbLOr2lDOm/OOyVCsIg5c41nXTSrPtvF5Lbt90T5DU+4VnO7aZjtP6Xb63bgtWgyBmVSz6kAwGgLpMbtYneaL/AOq2M39QI5zPdrCmKoOFwidWpZXLQCSDv01ruMuMqGC4kwZJ1G+G11Na6M9l2b6YsSD+pEfxge7Ia6v0x4g/sJ/xr/8AzrPsAe1r8JqRxF7cLZnTXTcanU2vWD+lq81xVuWjbViBnzqQsmJb+z3VZsX0sxVu/wBRlts+UMoN1Vzg5hCzZiRlOkyeE1h+LzlGkhtDpug8DpWh/SRYYZMWh1ti1pzDG5Emd3aiP3qzZqtSrVc6X4xd+GPkxPws0P8AjXFccI/4bh//AFCsRxG0L91ixd9ZMBmA13hddKc2dnXWUN1xA73j4mtTDfpm5Se2yN0xuH7eDY+Nlj8YpniOk+HIm7s4EcZsWx/qcVlb4RkUn64RAmA7EnwAOpprY21iLLhreIvTwlmgxqZBOo7qtx17JlMvTWNoYnZq5et2dlzrnGRG1XQE/wBhmIjMJ5SKiANhuZRr1huavcH/AM6RHdQxa3MVgcPfRQtxHzqqt7DyGVTw7UCP3ANaqF/pNinaVcFDGUOiPw1nODxmpLb6pZFlxXQ/C39cFjbTP/duVE+dskKfIDwqo7U2Tdw79XeQo28TuYc1YaMO8EijXtsXT+tsYe4OINpU99vKRUpgtv27q9S8hCdLF58yg7s2GxDCbL/uvKHcd9dMcr9sZYS+lfK0AKltpbIZGBWXRmKg5YYMBJt3F9i4BrG4jUEjWn+zejBcS8jwIH8xBnyEd9d5Hm870rqilAKuVvoxYEZ88SBpdBJJ7jaHCTv4U9fozhANBeJ3DtLqToBI3a1dyHx5VQ8tCK0TAdDLF3MO0rqNBnzD1yg8ju3MKrF3AorsjWirKYILn8qvaJ8OSDjQ0YJpUpdwacFOv7xpvdw33Z8Dv9eNJnNsXjy0YkUWKUIolbcxaFChTQurXQ9ttOY1gxoWUyBzX0mpvYt6zdsLnVVZeyx01gaHXmPzqR/4CuHTrIU+yoC90SwYnTSaVw/0fFActzfBh5YSNx0y99eTcfSstIYG91DhezesHQoQpa1O8rm9nmtIdKNuWrV1BYVMhtksyqEjMQLYGUdpmMacApNSl3oNcYybyHwtke8OCfWs728AH6lHLJbY9rXjvygkxpu19o8axbPcXHf2hNpOUvm80sznyGgB8eAAqZ2PfzCd06kce7Wm3XLcU9mFkjXj31FnNaYsFZlI013ePdUaWS7cAI1gExTu05mqvgtodboT2vj4U+fEldJM+NLWesWC/gL6p1uU5QQ2aNwnefWmPWF2BO8tJqKbEtxYxykxVe2htZ2JVSVG7QmT51JGsr2WC7fW5cdgZ1j5CrR0AwguYxTvFu2T4O7ZR/IKz/o4cxZT3ems1qf0PYQhLt1tS1yAf3baAD/VSrJ4aJiLnbb91FA8WJLD0VKqXTrFFcHiCND1F6PHqLhHvFWC5cnOebn+UC2fehqp9OWnB3gNZtXf/guVhTW3sDZ+UArbkACeuc7hEak6VS+m+z7Fu2wsdpuvEZWL/wBn1CkiI3Z2OvdFRiXNH/hB99JhzW+zn1Pfo8wts336+UAtmJJSTmXQGNdJ0qzbWw+DBVVZcoB1NzcTuAgA8zrVPF00htSTZbmsMPWD7j7qbWwv0kwVu1aYCc3DQFWU6ghhu986Vd+mIz7O01JsWG/C1k/9RrJ/rjlCrMWXKQATMcdJ3a1ru0LRuYNEXe2ESPGMORWcvcWMzwhDJ3jXy4+6aVYRTSequR3kHuMwdRoRSmLuZEBGpOnmN9dMctMZYTI569yCJMae7d4UwuYFd+u/mabjFN/QpzhsRm3jdy9Kty2kxsaH9G+Kz4RrR0Nt2UeDRcQ/ia56VWdvYQWsRcABALZ15Q/bA8pjyp39HWIyYi4n37at5o0fC6/pUp0vsKHRyoO9STPPONAdftsP8Nc8LrJrObxVbEDM4zQJAM8BI867idmWyP1iPprEgj1GtOn2siGAbZ04ITHdoDR8RjVugMI00EARz8ju0rv4cfM8ubI2q+CuKLxD22AVXbtDKDK27wG9BvVtWSezIlauu09vug6y2ttrRMZpkq2UNkeAYMEEEaMCCO6hYiHBDbjSewtrNhLnVuBcsuMuVtFdZnIx4QSSrb0YyNCwOd3F0l7Rbb3Sdg85VLZQIn2m1IAjkF1+dN/+K7jMP7MdkyYnvAnTQSR5xRNpYZVCXLU3LVwwjQAweY6q4PZuA6cjEjjDXGEWiuc2+1EQScw4tOX7M6BuO8SNa3uGqsGyekZN3MyhIEzOhggERHIn8K1P7c2ZavkXAe0B7MSw5a6SOB5SOUZwcUCQSqAj7ojjp/XdSq7VcaZz6mtsxYLuwn10McJy++GpldwK20Jvq0zClAxEkHRoUzunyqMO02PtH1NcbafYIYnRgywd5gjiDO81jPOY+2+Phufif3IXcKGBMkkRuRpPkYmmzYE8rh/y4+LCnuJ2oWtgKHPa3aE/Z36JPOkkvYhhAsXmH8Dnv4LprUx5LpOT8PjMvJp9UPJ/wr/voVO4XCqUBuYa+HjWLeI3+QrtX5qz/DYf9tfLW3r9uMxnx1HkakbPTRFBNwQBvI7UeW/31iXR7br2mGHvuXtOYViTNtju7W/Kd3dUztFrVhWAJVrnfO5g0nMeffxrzvQ0fpF9IFn6pdayHkqQrFcqncCQTrqDppxrDLG1WB1ZtSTICnUmTv4VZNoW3v4dbVuNAoXs5Q0Fc05S0k9nWeWgmq43RrEc7f4j+a0QsdqGIV1J71y/nvpfCbS7MOd2m+T4ERTA9GcT+5+MfKjXthXghLgAqNGDA6cmA1jv4U2iQG0LaCUQgH2gtMv0kCSSTvme7gO6l/0biryAAIyjlcQ68OPIxrO4UQdF8Vwtjxz25/1U2FkxinnUNjyAxPAn41Lr0Zxen9l49u36jtVzEdFMY5/U6fx2/wDdWrluJMdVHbJ2iLTTG8EeE8a3n6ObWTBWj95c342LD3RWS7M6D4hmCunVg72LKYHGACSTW0YSLViF0VE07giafCs1o5t3ZtqfvDP+Ml/+qozHWA4hhI9NxkajdTsaKq8lA9BFIM1c9tMn279H+KssWwua/a4BT/aqOTL7Xis+Aqu3Nn4q2ZaxiFPEtbuD4it9s3Ip7bxZHGtTNOrz0Nu30EGE/wAsL6iBSzbUstZKMRnIMuARv1jKNI+VehBjjzrhxAO9VPiAadk08zWmUKxUktBAAmddCdPTzNbBtMNbw4UyrLhSp5qQtkN5iDV3BtzPV25HHIvyoYzGyUmDqQZ10KnT1C+gpctmnnPHWjLEkGF0I8R58TSBBe0O4njXpDrE+4n4V+VFJtcbdv8AAvyq94aebRhzv7P4ln0mfdUrsrZqlS7Yi3aOvZOrQO7h4VvZ6r+6t/gT5UUra/urX/LT5U7xLGFdF7+TF2TJEsU14i4rKNOGrg1c+nFg3MMxGhGV/INB/luN6Vf+rszPVWpHHq0n4UW41sGert6yG7Cazz011086zb521pgNhLo7KuoHIATp3ZZY0nZ2hcHWS0kgCSq7w2hgjvYajia9A9XaP7K1/wAtPlQNm1/dWf8Al2/lW+7PVguDxt1iJKESAQVUHX+GKfbTe0tvLd1ciYtnRDwljM+FbO1uz/c2f+WnypNsJZO/D2j/AJSf7avdOrEth7XuBWtsym2ShcOCVbq2DIW1iYULrvAAMwKsfSDBnK10WrtwPP8AalWKzlgRA0G4jzq2YvYlh7yv1NpcrBoCKo05gDUdxqxbPxos9lIAEQPZjgIG4DXd3VnvpdMSw2BxLIzhzCjM0ZRAHl3H0pxhdqXQuRmMrpMkSJJmAQP/ABW6rjbL/rLaGeIUT86icZ0K2diGLgNbdt5V2Ez+68r7q1MoaZG+2Lv9434m+dJnb19d124P8TfOr5tT6KHOuGxax924kn8StH8tZz0r6P4zBOReV+rkAXQoyNMciYM6QTrFW2BwekGI3dY47zJj1pe/jWM//kudOSnXl9iqnhVe7cCKSSxgeE7yOHOtE2PsLCpb7bi6ZksyRp5k/CuWfJMV/kqB2hdHtn0X5UKvi7OwX7vkQB6TQrHzfoM1xhlSOVOMPh8VfCk277iNHyOygDUnNERAmtpudBMCxDCyVIIIK5xBBkbjXdqbFS3ad+vvZbaOSCWIKhTmBBBkEcK76amPlm2BxO5VP2QByMafIe6pPrjvMHnIFQWHxVrKYIzhlM9oEiBI176sey4N1OWYV58MsruX6dubjxx1cfVdVv4fSukzwT3/ACqU6R4NBazKoBzASNOdZ5hcDiLy3rq3mVUvNbiW3jtDceRrrI864YGyLYhVtgEkxLbzv4U+t3Tromne3IHlyIqhW9m4siRff1b513BXMQmKS091mBUtE8O1HnK1dUaKt0iJC6idCfnTm1iCCCOyQZ0J+dV/YTHO+diQCAskmN8xyqbxV8KmkZjCru3nQHy3+VYuUktrWONysk+3L20rVts7nWTzbUkMRu/dGnCKkLHSqw9l0yvLI4XsnWVI110151FYvYqEYck6HrIEwTCaEsZ3+HGndnYQNuzo6owzb0+4SBoJYSImBXnnJz5Y7mE/d7Lxfh5l1ud/ZY8Fta3fTOiCJKkMGDKw3ggmg+IA9lPT/vUBsYi2cQgaYvEz427Z4U8uX66zevLy5SbuvSRGM/dX0rv1391fwiofra711VlK/XzyX8Irn6QPJfwj5VF9dQ62glP0gf3fwr8qQxOPMD7P2l9lfvjuph1lNtoYiLbnkpPpr+VBKYjbgt/bBM7sqA698KaNa2vnXMqMo4FkAB8JQVHLfIMgx3jShcxLN9pi0cyT8aCS+vnu/Cvyrn6QPd+FflUXnrhuU2JT9IHu/CvyolzHMQdR+Fd/DhUd1tFN6gkLm1SoByO4O7IoJBOonsngD6Uf685AJRrc7g4WSN0xEjzqDwl8lF1OmnoSP68aVNymxKHGtzHoPlXPrx7vQVFm5RS9VEh9d13D0oPtEyOyOI3DlPLuFRpek7r/ABHxoJj9It3fhX5UcbWPJfwr8qhl1NP7OFkSTPdVQ7bbB4QD4L8qLe2o95DZuBbiXOwVYCDm03xpvpnfwh9iT3bzTbB3stxCdwafTn5xVloaYDolbsfqXu2zubtgyw0I+wNJ4GpAbMcb7rnxg/lVh2ThluhiDx4RxHfTttkcp91b1FVA7LP3v5V+VCrWdkN/QrtNQ3UuF7/fTHbmFz4a+o1LWrgjmTbIFPqMp/rfUd3me1YKlu/T4VatiXtLbciNfAxPuo207MX7oCADrH0jhnMUEEDlXPWqvLzTPGTWtLTtpC9oACYYH41n2GwePsq6W1TI7lzOpk6T6CrAMW4H2j610Yx+fuHyrfZ59K/ZfaKTFpTPcvzo+z8JiXxIu3reWEKyIjeSN38RqwriW7vSlkxTclp2TRrgLmreP5mmHSHGnOqgxCk+Z7I9BPrUtkZiSF1Opim2N2L1pBZWmIkHhWMpbNPT+F5ceLlmeU3Iqd/FuWXtGQG+A/7U761iFJJYxrPOI86lrnRfVY6zfHs8fLuFSeC6HFh+205ZB8RXG8eWn1+P/wBHgmWWVl8/6/wL0HunJe/9wf6FH5VZC1EwHR67ZUrbw9wAmSSQSx0Ek+Qpz+icT/cn1FdNPi8uczzyyn3abTXZpyNi4n+7A8WFHGwsRyQeLUYM5rqoTuBNS+E6PsBnuukbgqmSfE8BSO0dq2rI1Kqo4khV9TVQxbDNyNM8avYcH7rfA0i/TXDTHXJ/NHrEU/t4u1iE0YFW0zoQ0Ty+VNBFRAihNGd8Khi5ecNy0E945jvpNsfgR7dw+tNAxNFJpF9tYEcGPiT8qQfpNgRutT/i+Zq9abPC450Q3BzFMH6Y4UbrC/H86SPTm0Ps2LfmD8qdabP8O6hRB7/Uz+dKdYP6BqFTp6QABaUQI0A4eVd/46vn7KHyQfkavWptNCTuVvwmjCy53W3/AAmoFulmNb7KXPRh+RpM7Y2g3sv5sPzAp1NrJ9Sun9k/pFFuYC7p2I1G9lHfzqstcx7bwB4sfyek3wWLaAXVZI4k7teM8qaFoxlxcOpa4yiBJMyB3Tx8qoO1enlxmIsqFXm2pPlMD30OmGONy4uHUkpbgH95o0nnA95PKmeEwSKskA1ZiHWyunt5GBuAMJ9kQfkfCK03Zu2sLctK/wBXF0trmzsJ8uHh3VhmPsgGVECd1W/6OcYSLlk8IdfPRvy9avpGsbK2qpuKtuyLYYgGGnTXu361Z4FUroxZDXpPsjN5yB+dXE3K1Apl7qFIm730KKZHGngIpviMco1u3MizEnQbiYgbzpR1QDefICozpRZD4Z4H2YbXXcdfdNb3jPS22sy6Q7bVsTc6qTbLaFlymTxgMdJ/obq5h8QTv0phtbBsvay9gcdxAnQEd0x4AUmMTdTeGHipPwrldX0nmLCijnXQBVeG2G45PQj86UTbB5Kf8UflWelXadLgV0XKh02vzT+afypVdrL9xvLL86dam0sLlKLdPM+tRS7Tt/dcfh/3UL+1UCmMxbcqxqzcBV1TaUu4ojL2mnMsASSdRMAanSfSp3ZONuz2es/C/wAIph0VtpZAa5bF28ftOzHSfZQeyo7t8VbP086iLSpa71WT6tNSiA6RdJMVby9WbjQxDqJzDsyukHL5ioJ+lOObcl7zJ/2CrDiLpa6zsSSyrJPGC/zrk1NrpV32ntB/ZueZI/MVxF2g5iDrzf8A+9WjNSON2ithC7TyAGpJiTHkKdjRvtvpD9QwqWc2e6Qd5JzMTLGd+QEx6Csxx2Lu4h89xi54ch3KNwFL4vENir7XG4nT91RuA8vzp4oCwqCSdBAkk+A31uRLUFctEbwfSnWyNp3MPcDof4hwYciKf4pbqa3LToD99GWfUCo/FWRGZd06jl/2qo0TG4a3jEtXJIB0kRIBGoPmIpFeidniznzHyqP6HYr+wZT7NxSPNhp7vfVn6/urnuxpGr0Yw44Mf8R/KlV6P4cfs/Usfzp2180Xr53EetTdXRNdkWB+yTzE/Gjtg7SgkW0EA7lHLwoF27/Q/GKQvXToJ466jhrz5xTdQ9t2lUAADTTdRswqP+sDn7x+U0U4gf1J+IFBIG4KKbwqMbGKOPuj/qNIXNpoODe6P9NBLm+Kids7WCjKp7TaDu5n0n1FRWM6TKugX3sPgRUDiNqG6+Y6QDHvNbkTZK08ux5knXxPGrp0Bwou4lcwUqmQnMYGtxFJngQhcg81FUGw9X/6NwC92WAAQHWe0ctwKB/iK+ldIyafSds5FuF0gS7CBO6SbfuBHlUJ9HxjFHkbZn1Wr50uwy3bSg72vWx5ElSf5qn9jdBLOHcuXa5IiCFVfRRNSxS3RWOsaNezv5airOfOkbGHS2IRVUdwFKSKRQg8zQrs0Koqz9KbMSuZvKJ9aaP0ie4CtqxmnTiw15xp76mtn9E7VvVlWebdo/KpMG0miqTHkK4/JL68t9b9s1v7ExG/qmaeA7RHcQKjr9l0+2jJ/EpX41rbY4+yMvoaQe8zfaMjvikl/JLpkbMDvg0k1m0d6IfIVf8AbXROxiQBBtMCTntEKdTJB0IYSZ1HhFYxj89t3UO3ZZl1JnQka+lb0ys31G0fYX0ow2bZ+4Pf86pYx1we2aVTbF4e3PjTQtd7ZFoxACwQTxzDiN+lPsLgbSHMqAHnx99VLCbUvXIUOqknKpje0Ehe6YjxI8acDGYpR2oHiMp9KmqL1h7wmn3X1mlvpBekDskkwAN5J0AAqTxO1cZZ/W2Wtjm6uo9SsVLKu1yu4jXyohv99UB+lDEybZJ7nYSPSiHpJPsMP80n/pqdabX27jQONVjpDtLOrkHsqMi97EjMfy8qruI2q7fZLDzn3xQxNz+xReZk1rHHSWnGC7KTzrQdj9F8RksfVyqXLjj6xcaA1q1AYqpO4AAgxqWI4DSj7EtB71pTqC9sEcwXUEek1qnRmziLGEnEqVutcuMFJVjlLEjVSREkx3RW0OOkezbl3EWkw4tHDQyXFchZGkNBENuPrWXdJtj/AFTENakG2wlSDIg6RPGCD7q1BMTLRVH6b4FksYU3JLnrQSd7ar2vOJ86CI6L40WUdXAJZgROaRl5FSKsS7Qzbln/AA5v9U1UrO0OqbN2SfH46VN7L6S2CSMQzqANChJkyNIEQInWsXFdpX6xc9lSPABfgBSdy9cO8x/E3/ekrvSjZ41Fu8/8TJHvE0xvdOrC/q8Es8zcZf8ATpTqbO2dj7SeUt8Aa6bTfeYf4I+MVEXvpFu+xh8Ov8S9Z7zFNj9ION9l1t/+2gX506w2s9vZd1tQl1x3QR7ppdej94/swP43C/6oqjX+lmKf7V64fOPhTK5tS432mY+JJ+NXUTbRv0MB9q7YQ8s0+9S1A7Isn7V/8KyP5gtZwMa/CaN9fuczV1Bcdp7PwVowyYi7Os2wsHxMsAar1rZH1jEdXh7bWkYNBuEnLoYLsBHdoOIqPG0bnM0ddr3BxNUR9o+VW7oMc19UN0WgQSWIkdgFiI5kAgd8VUbj9onmZ9aebOxJRgQYIMjxqDVtpZXXBiCHuYlTrv6tchBI4SWnyq/9aDWQ7Jxt7FXVuks5QROnAQAIHCrrhXvcvfNatFpNyh1gqKsM/GndtjUU662hSQJrtENHxZNIPcbxrhShnio0NbuHlR2vH/zSXWE0GveHrRCouT/4or4W2TJtoTO8qpPvFNzfHOk3xyjew9aDF+m+xThcVcQDsMS9s8CjEmB/CZXyHOq4a2vpQ2FxFvJeYaaqwPaQ81/MHfWSbT2eLbkW361eeUqfMH8iaqGVq8y7jHHzggHxgn1oNeY8TQ6k8qNatwRmEjiJie6agu30a9GEvk4m+SqW3U2oMZnRgxP8IgDvJPKtZu7RQb3FYva6WOFCBQqqIAXQADgBTfEbfduJou1y6RdH8HduG4l3qSxlgAGUniQsjKTx4d2+avjdj2LdpgLouXOBy5AIP8fEeNQ17HMeJpo9086IViNK5deQo5TTcmjIaCY2Xisly2/3WVvHKwaPdWjbC2lfvG/buIYtMIuAdhgfsGeZWDHJhWV2Wq77G6RFsN9VuvdW0Psvayl0mJBDRK8AQZG4UFoxmJKIzIua4IVFGsuxyoNOEkVXvpEdluW7DsGaynajcrPDFfIAetTGzds2MDbVcGHuMA3bvKB2mP2woMkjy8aoe2brXXaSXZiSzbySdTJ561RWnYkk8zXIqXt7KY8Ke2NgMfZPpUFdCmui0aueG6I3G3IalcN0Fc7wBQZ0uGNKpgWPCtVw3QMcSPIVKYfobZG+TQ0x23stjwp5a2G54GtosdHLK+wPOn9rZqLuUDyoumM4bovdbch9KlsJ0Mun2R51qowy8v68aP1A5UNM8w/QaftRT5OgVniJ8quhw4odSedDSop9H+F4pNPMN0Iwa/sEPiJ+NWQWzzo+Whozw+ARBlVVUDgAAPSlltxS+lczeNAmF7q7kpQ0UmgLloUaaFBX2v0i+IPClzbopsVQwvYxqZXsdcqXbDd1Jtgp4U2iu38Xc5mo6/ffvq3Ns8cqRfZq8RTZpRMQhbhTG5gzyrQzstTuj3URthg+zUNM6OCPKifUe6tFPR/urv8Aw3QZyNn91D9GnlWkL0Zml06LChpmA2WeVD9FHlWtW+iycRTu10dtjhRdMYOx2+6a5+grh3KfSt0tbGtj2RTm3gFG5R6UNMGtdG8Ufs2mPkalMH0Qxx3WSviyj85rbFsDlRuroumW4PoFi2/WXUQclLMfgBVqwPQ20igHWO7fVqVaNNDSHsbBtLuQelPbWz0G5R6U8DV2aBJcOBRso7qMaE0VxkHGjBBQzVzrKAwFAii5/wCorheiDxXaTL1wmgUmuTSeccTRTcHOgVLUXrO6k+sFFN2gVLVyfKkus764bgoFW8aKYpLrKK908poFY7qFIdd3UKIRy0MgrlCijZK4FoUKAZBNA2Qd4oUKK6LQ5UfqxQoUQZEFKJaFcoVFdQUploUKoNk3V2KFCoDLuoxoUKqizR1oUKI4aMaFCg7Sc12hQcZooChQoOkbq6K7QoCPzos0KFEBTSVxqFCihlriIJoUKIBGlFBoUKAqrNca0KFCgGUUJoUKIBoUKF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24" name="AutoShape 24" descr="data:image/jpeg;base64,/9j/4AAQSkZJRgABAQAAAQABAAD/2wCEAAkGBxQSEhUUExQWFBUXFxgYGBgYGBgXGBYYGBUXFxUXFxgaHSggGBolHBUXIjEhJSkrLi4uFx8zODMsNygtLisBCgoKDg0OGhAQGiwkHyUsLCwsLCwsLCwsLCwsLCwsLCwsLCwsLCwsLCwsLCwsLCwsLCwsLCwsLCwsLCwsLCwsLP/AABEIAKQBMwMBIgACEQEDEQH/xAAcAAAABwEBAAAAAAAAAAAAAAAAAgMEBQYHAQj/xABJEAACAQIDBAcEBgcGBQQDAAABAhEAAwQSIQUxQVEGEyJhcYGRQqGx0QcUMlKSwRUzQ2JyovAjU4KDstIWk8Lh8Rdzs+Ikw9P/xAAZAQEBAQEBAQAAAAAAAAAAAAAAAQIDBAX/xAApEQEBAAICAgIABAcBAAAAAAAAAQIRAxIhMRNBBFFhkRRxgbHR4fAF/9oADAMBAAIRAxEAPwCx9DFOQi4QRMgEknUCdWPdupTaOFNoPDu+YAiTMDr7WgjgATUji8RctnNJg8M7x7mqp7Q6Sf2StdXM/W3LQAgTlvWnUSdwNshZ1POda31ptFdJ9mvbuWjGkOCRr9yoDD4DPeJbsqV3kwdFAjlNaThMcM56xWZcrNOkIBqc0a66DQHdUnjMOxsZ7FsPnHZyuucBgYYAkDw15VNb9l8My2/auWMOps3765QDC3WCAFoIyqAJ1B3mqVe2ldbUu277xE+Mb60TFYhbmHuWCbzQurOVZTvIylTBPKOW+qKmztNWQHk1y2p9C1LjolWI9HrS21d2btAHiTxmOO+f6in228ODlAJ7ABGsTlE6keApxtPbmHFjDLZxKK6Wwt3QmTA1nq2k6Hdzot3pDgyl0G6CzZMhFu7pBOb2NNDwprytuOvBqej+IuZ3vJdtJpmzKd0iDJMECeHrURfGZR90bx3DfJHidKd3tpWHXtYy+1ztDW3cdcpMqBmII4enGkbWLw4Eda51/uW7u+rMJ6cMpdeJ5FwGHCpIH2gCfTdSzIANNKOuMsMQBdI/itXQPcDUynRq66zbK3VO5rYuup81tn0OtevHpJqPLcOS3din3Ulz/XGirb/KranQXFs32VE6DOxtyToAOsAmnX/ptj1/ZKfC4nzrhdbemS6VrBW6fBo3b/Kpuz0Hxw/YH8SfOj2+hWNEk4dpmdGTxOmbmauWetfk5fHbfSGLg6nhvpvirkESI7uPDXw+VTF7onjwTGGuMDrAKb++W14U0fortGQThb05pH2ezrM/aNcZnl2jXx+PRoT/AF60jc/r+apkdGsYN+Hu/hJpzjtjXzZtIuCvK6Zs79W3bmSNwnSeNe/vPzeSceXnwqtwb/6+7SN1dfT/AFNU3d2JiBvw94f5T93dTK/s+4D2rbjxRh7XeKlsq4yxBva0Hl8DSN5SYEmNJ4+EVJXkga6bvjTZ03f1uNcMuOV6ceQ1wSENrxJ3mB6zSFzXv8akThR99fR/9tN7uFYSYkTvBDDzI3eBrncHWZbNctcFunAShl/rzp1XsTCV1UpXLRlFamLFyJrbo4SlVFGy10mLncxEWjZaOFruWtyOVycArlsaDypSKCLpV0zvwJFAClCK4BV0mxCKFGoU0u2u9MukdxHa3ZWBaVSWhTnuuRktgkRlCEsY37pGsvtt4/EJg7BRrCYq465gUAAV5JOXXUaDWRqe401w2B2faH65j2gZZiZIBAB5jtHhSOLw+EvYlr93EnIVAVVnSABr2TyJ38a8f9H08ZNXdB7203UicAzaEL1dyTuIIlokaHdG6mD7e2pZARrOFaNNA6GRxInLPgIqcxOEwlh0X6zetsyl0gBgyiJYELHEVzDG1duLGLZ1ZWUK1lZJ3gg5RwDHeNwrV6fTnJn9sV6U4u7dvkXhkKiAiklVLds5RMCS06c6hhdVdMuY8508gKtfS/YzLjb1tGzyZUkgSoABYxu1kDwJqKtdHXmN/PKCYFY+2t6iIOKPBQKH1x+Q/rzq42thFQIBO7hxq54DZVi6O3atZxqGdEOYbspkenKr1rPyRjIvPM6UoMTcHEe6toxmw8Mt7DuLKLrcXQKoJNskEgCD9kxO6aNtLE21ORbVstG8hSB4wN9Z0d/0YwMVc7vdU10b2/csOZMK0ZoMeB8asnSXB2HuZBbAK7yIWZA+7Gm/hUZg+jiXbttFB7Tgb+Ey3oKvpqXc20HZmJN0oA0m4yqpHDMwBPkDPlWoX7uUVQui/Q65hcTbLOr2lDOm/OOyVCsIg5c41nXTSrPtvF5Lbt90T5DU+4VnO7aZjtP6Xb63bgtWgyBmVSz6kAwGgLpMbtYneaL/AOq2M39QI5zPdrCmKoOFwidWpZXLQCSDv01ruMuMqGC4kwZJ1G+G11Na6M9l2b6YsSD+pEfxge7Ia6v0x4g/sJ/xr/8AzrPsAe1r8JqRxF7cLZnTXTcanU2vWD+lq81xVuWjbViBnzqQsmJb+z3VZsX0sxVu/wBRlts+UMoN1Vzg5hCzZiRlOkyeE1h+LzlGkhtDpug8DpWh/SRYYZMWh1ti1pzDG5Emd3aiP3qzZqtSrVc6X4xd+GPkxPws0P8AjXFccI/4bh//AFCsRxG0L91ixd9ZMBmA13hddKc2dnXWUN1xA73j4mtTDfpm5Se2yN0xuH7eDY+Nlj8YpniOk+HIm7s4EcZsWx/qcVlb4RkUn64RAmA7EnwAOpprY21iLLhreIvTwlmgxqZBOo7qtx17JlMvTWNoYnZq5et2dlzrnGRG1XQE/wBhmIjMJ5SKiANhuZRr1huavcH/AM6RHdQxa3MVgcPfRQtxHzqqt7DyGVTw7UCP3ANaqF/pNinaVcFDGUOiPw1nODxmpLb6pZFlxXQ/C39cFjbTP/duVE+dskKfIDwqo7U2Tdw79XeQo28TuYc1YaMO8EijXtsXT+tsYe4OINpU99vKRUpgtv27q9S8hCdLF58yg7s2GxDCbL/uvKHcd9dMcr9sZYS+lfK0AKltpbIZGBWXRmKg5YYMBJt3F9i4BrG4jUEjWn+zejBcS8jwIH8xBnyEd9d5Hm870rqilAKuVvoxYEZ88SBpdBJJ7jaHCTv4U9fozhANBeJ3DtLqToBI3a1dyHx5VQ8tCK0TAdDLF3MO0rqNBnzD1yg8ju3MKrF3AorsjWirKYILn8qvaJ8OSDjQ0YJpUpdwacFOv7xpvdw33Z8Dv9eNJnNsXjy0YkUWKUIolbcxaFChTQurXQ9ttOY1gxoWUyBzX0mpvYt6zdsLnVVZeyx01gaHXmPzqR/4CuHTrIU+yoC90SwYnTSaVw/0fFActzfBh5YSNx0y99eTcfSstIYG91DhezesHQoQpa1O8rm9nmtIdKNuWrV1BYVMhtksyqEjMQLYGUdpmMacApNSl3oNcYybyHwtke8OCfWs728AH6lHLJbY9rXjvygkxpu19o8axbPcXHf2hNpOUvm80sznyGgB8eAAqZ2PfzCd06kce7Wm3XLcU9mFkjXj31FnNaYsFZlI013ePdUaWS7cAI1gExTu05mqvgtodboT2vj4U+fEldJM+NLWesWC/gL6p1uU5QQ2aNwnefWmPWF2BO8tJqKbEtxYxykxVe2htZ2JVSVG7QmT51JGsr2WC7fW5cdgZ1j5CrR0AwguYxTvFu2T4O7ZR/IKz/o4cxZT3ems1qf0PYQhLt1tS1yAf3baAD/VSrJ4aJiLnbb91FA8WJLD0VKqXTrFFcHiCND1F6PHqLhHvFWC5cnOebn+UC2fehqp9OWnB3gNZtXf/guVhTW3sDZ+UArbkACeuc7hEak6VS+m+z7Fu2wsdpuvEZWL/wBn1CkiI3Z2OvdFRiXNH/hB99JhzW+zn1Pfo8wts336+UAtmJJSTmXQGNdJ0qzbWw+DBVVZcoB1NzcTuAgA8zrVPF00htSTZbmsMPWD7j7qbWwv0kwVu1aYCc3DQFWU6ghhu986Vd+mIz7O01JsWG/C1k/9RrJ/rjlCrMWXKQATMcdJ3a1ru0LRuYNEXe2ESPGMORWcvcWMzwhDJ3jXy4+6aVYRTSequR3kHuMwdRoRSmLuZEBGpOnmN9dMctMZYTI569yCJMae7d4UwuYFd+u/mabjFN/QpzhsRm3jdy9Kty2kxsaH9G+Kz4RrR0Nt2UeDRcQ/ia56VWdvYQWsRcABALZ15Q/bA8pjyp39HWIyYi4n37at5o0fC6/pUp0vsKHRyoO9STPPONAdftsP8Nc8LrJrObxVbEDM4zQJAM8BI867idmWyP1iPprEgj1GtOn2siGAbZ04ITHdoDR8RjVugMI00EARz8ju0rv4cfM8ubI2q+CuKLxD22AVXbtDKDK27wG9BvVtWSezIlauu09vug6y2ttrRMZpkq2UNkeAYMEEEaMCCO6hYiHBDbjSewtrNhLnVuBcsuMuVtFdZnIx4QSSrb0YyNCwOd3F0l7Rbb3Sdg85VLZQIn2m1IAjkF1+dN/+K7jMP7MdkyYnvAnTQSR5xRNpYZVCXLU3LVwwjQAweY6q4PZuA6cjEjjDXGEWiuc2+1EQScw4tOX7M6BuO8SNa3uGqsGyekZN3MyhIEzOhggERHIn8K1P7c2ZavkXAe0B7MSw5a6SOB5SOUZwcUCQSqAj7ojjp/XdSq7VcaZz6mtsxYLuwn10McJy++GpldwK20Jvq0zClAxEkHRoUzunyqMO02PtH1NcbafYIYnRgywd5gjiDO81jPOY+2+Phufif3IXcKGBMkkRuRpPkYmmzYE8rh/y4+LCnuJ2oWtgKHPa3aE/Z36JPOkkvYhhAsXmH8Dnv4LprUx5LpOT8PjMvJp9UPJ/wr/voVO4XCqUBuYa+HjWLeI3+QrtX5qz/DYf9tfLW3r9uMxnx1HkakbPTRFBNwQBvI7UeW/31iXR7br2mGHvuXtOYViTNtju7W/Kd3dUztFrVhWAJVrnfO5g0nMeffxrzvQ0fpF9IFn6pdayHkqQrFcqncCQTrqDppxrDLG1WB1ZtSTICnUmTv4VZNoW3v4dbVuNAoXs5Q0Fc05S0k9nWeWgmq43RrEc7f4j+a0QsdqGIV1J71y/nvpfCbS7MOd2m+T4ERTA9GcT+5+MfKjXthXghLgAqNGDA6cmA1jv4U2iQG0LaCUQgH2gtMv0kCSSTvme7gO6l/0biryAAIyjlcQ68OPIxrO4UQdF8Vwtjxz25/1U2FkxinnUNjyAxPAn41Lr0Zxen9l49u36jtVzEdFMY5/U6fx2/wDdWrluJMdVHbJ2iLTTG8EeE8a3n6ObWTBWj95c342LD3RWS7M6D4hmCunVg72LKYHGACSTW0YSLViF0VE07giafCs1o5t3ZtqfvDP+Ml/+qozHWA4hhI9NxkajdTsaKq8lA9BFIM1c9tMn279H+KssWwua/a4BT/aqOTL7Xis+Aqu3Nn4q2ZaxiFPEtbuD4it9s3Ip7bxZHGtTNOrz0Nu30EGE/wAsL6iBSzbUstZKMRnIMuARv1jKNI+VehBjjzrhxAO9VPiAadk08zWmUKxUktBAAmddCdPTzNbBtMNbw4UyrLhSp5qQtkN5iDV3BtzPV25HHIvyoYzGyUmDqQZ10KnT1C+gpctmnnPHWjLEkGF0I8R58TSBBe0O4njXpDrE+4n4V+VFJtcbdv8AAvyq94aebRhzv7P4ln0mfdUrsrZqlS7Yi3aOvZOrQO7h4VvZ6r+6t/gT5UUra/urX/LT5U7xLGFdF7+TF2TJEsU14i4rKNOGrg1c+nFg3MMxGhGV/INB/luN6Vf+rszPVWpHHq0n4UW41sGert6yG7Cazz011086zb521pgNhLo7KuoHIATp3ZZY0nZ2hcHWS0kgCSq7w2hgjvYajia9A9XaP7K1/wAtPlQNm1/dWf8Al2/lW+7PVguDxt1iJKESAQVUHX+GKfbTe0tvLd1ciYtnRDwljM+FbO1uz/c2f+WnypNsJZO/D2j/AJSf7avdOrEth7XuBWtsym2ShcOCVbq2DIW1iYULrvAAMwKsfSDBnK10WrtwPP8AalWKzlgRA0G4jzq2YvYlh7yv1NpcrBoCKo05gDUdxqxbPxos9lIAEQPZjgIG4DXd3VnvpdMSw2BxLIzhzCjM0ZRAHl3H0pxhdqXQuRmMrpMkSJJmAQP/ABW6rjbL/rLaGeIUT86icZ0K2diGLgNbdt5V2Ez+68r7q1MoaZG+2Lv9434m+dJnb19d124P8TfOr5tT6KHOuGxax924kn8StH8tZz0r6P4zBOReV+rkAXQoyNMciYM6QTrFW2BwekGI3dY47zJj1pe/jWM//kudOSnXl9iqnhVe7cCKSSxgeE7yOHOtE2PsLCpb7bi6ZksyRp5k/CuWfJMV/kqB2hdHtn0X5UKvi7OwX7vkQB6TQrHzfoM1xhlSOVOMPh8VfCk277iNHyOygDUnNERAmtpudBMCxDCyVIIIK5xBBkbjXdqbFS3ad+vvZbaOSCWIKhTmBBBkEcK76amPlm2BxO5VP2QByMafIe6pPrjvMHnIFQWHxVrKYIzhlM9oEiBI176sey4N1OWYV58MsruX6dubjxx1cfVdVv4fSukzwT3/ACqU6R4NBazKoBzASNOdZ5hcDiLy3rq3mVUvNbiW3jtDceRrrI864YGyLYhVtgEkxLbzv4U+t3Tromne3IHlyIqhW9m4siRff1b513BXMQmKS091mBUtE8O1HnK1dUaKt0iJC6idCfnTm1iCCCOyQZ0J+dV/YTHO+diQCAskmN8xyqbxV8KmkZjCru3nQHy3+VYuUktrWONysk+3L20rVts7nWTzbUkMRu/dGnCKkLHSqw9l0yvLI4XsnWVI110151FYvYqEYck6HrIEwTCaEsZ3+HGndnYQNuzo6owzb0+4SBoJYSImBXnnJz5Y7mE/d7Lxfh5l1ud/ZY8Fta3fTOiCJKkMGDKw3ggmg+IA9lPT/vUBsYi2cQgaYvEz427Z4U8uX66zevLy5SbuvSRGM/dX0rv1391fwiofra711VlK/XzyX8Irn6QPJfwj5VF9dQ62glP0gf3fwr8qQxOPMD7P2l9lfvjuph1lNtoYiLbnkpPpr+VBKYjbgt/bBM7sqA698KaNa2vnXMqMo4FkAB8JQVHLfIMgx3jShcxLN9pi0cyT8aCS+vnu/Cvyrn6QPd+FflUXnrhuU2JT9IHu/CvyolzHMQdR+Fd/DhUd1tFN6gkLm1SoByO4O7IoJBOonsngD6Uf685AJRrc7g4WSN0xEjzqDwl8lF1OmnoSP68aVNymxKHGtzHoPlXPrx7vQVFm5RS9VEh9d13D0oPtEyOyOI3DlPLuFRpek7r/ABHxoJj9It3fhX5UcbWPJfwr8qhl1NP7OFkSTPdVQ7bbB4QD4L8qLe2o95DZuBbiXOwVYCDm03xpvpnfwh9iT3bzTbB3stxCdwafTn5xVloaYDolbsfqXu2zubtgyw0I+wNJ4GpAbMcb7rnxg/lVh2ThluhiDx4RxHfTttkcp91b1FVA7LP3v5V+VCrWdkN/QrtNQ3UuF7/fTHbmFz4a+o1LWrgjmTbIFPqMp/rfUd3me1YKlu/T4VatiXtLbciNfAxPuo207MX7oCADrH0jhnMUEEDlXPWqvLzTPGTWtLTtpC9oACYYH41n2GwePsq6W1TI7lzOpk6T6CrAMW4H2j610Yx+fuHyrfZ59K/ZfaKTFpTPcvzo+z8JiXxIu3reWEKyIjeSN38RqwriW7vSlkxTclp2TRrgLmreP5mmHSHGnOqgxCk+Z7I9BPrUtkZiSF1Opim2N2L1pBZWmIkHhWMpbNPT+F5ceLlmeU3Iqd/FuWXtGQG+A/7U761iFJJYxrPOI86lrnRfVY6zfHs8fLuFSeC6HFh+205ZB8RXG8eWn1+P/wBHgmWWVl8/6/wL0HunJe/9wf6FH5VZC1EwHR67ZUrbw9wAmSSQSx0Ek+Qpz+icT/cn1FdNPi8uczzyyn3abTXZpyNi4n+7A8WFHGwsRyQeLUYM5rqoTuBNS+E6PsBnuukbgqmSfE8BSO0dq2rI1Kqo4khV9TVQxbDNyNM8avYcH7rfA0i/TXDTHXJ/NHrEU/t4u1iE0YFW0zoQ0Ty+VNBFRAihNGd8Khi5ecNy0E945jvpNsfgR7dw+tNAxNFJpF9tYEcGPiT8qQfpNgRutT/i+Zq9abPC450Q3BzFMH6Y4UbrC/H86SPTm0Ps2LfmD8qdabP8O6hRB7/Uz+dKdYP6BqFTp6QABaUQI0A4eVd/46vn7KHyQfkavWptNCTuVvwmjCy53W3/AAmoFulmNb7KXPRh+RpM7Y2g3sv5sPzAp1NrJ9Sun9k/pFFuYC7p2I1G9lHfzqstcx7bwB4sfyek3wWLaAXVZI4k7teM8qaFoxlxcOpa4yiBJMyB3Tx8qoO1enlxmIsqFXm2pPlMD30OmGONy4uHUkpbgH95o0nnA95PKmeEwSKskA1ZiHWyunt5GBuAMJ9kQfkfCK03Zu2sLctK/wBXF0trmzsJ8uHh3VhmPsgGVECd1W/6OcYSLlk8IdfPRvy9avpGsbK2qpuKtuyLYYgGGnTXu361Z4FUroxZDXpPsjN5yB+dXE3K1Apl7qFIm730KKZHGngIpviMco1u3MizEnQbiYgbzpR1QDefICozpRZD4Z4H2YbXXcdfdNb3jPS22sy6Q7bVsTc6qTbLaFlymTxgMdJ/obq5h8QTv0phtbBsvay9gcdxAnQEd0x4AUmMTdTeGHipPwrldX0nmLCijnXQBVeG2G45PQj86UTbB5Kf8UflWelXadLgV0XKh02vzT+afypVdrL9xvLL86dam0sLlKLdPM+tRS7Tt/dcfh/3UL+1UCmMxbcqxqzcBV1TaUu4ojL2mnMsASSdRMAanSfSp3ZONuz2es/C/wAIph0VtpZAa5bF28ftOzHSfZQeyo7t8VbP086iLSpa71WT6tNSiA6RdJMVby9WbjQxDqJzDsyukHL5ioJ+lOObcl7zJ/2CrDiLpa6zsSSyrJPGC/zrk1NrpV32ntB/ZueZI/MVxF2g5iDrzf8A+9WjNSON2ithC7TyAGpJiTHkKdjRvtvpD9QwqWc2e6Qd5JzMTLGd+QEx6Csxx2Lu4h89xi54ch3KNwFL4vENir7XG4nT91RuA8vzp4oCwqCSdBAkk+A31uRLUFctEbwfSnWyNp3MPcDof4hwYciKf4pbqa3LToD99GWfUCo/FWRGZd06jl/2qo0TG4a3jEtXJIB0kRIBGoPmIpFeidniznzHyqP6HYr+wZT7NxSPNhp7vfVn6/urnuxpGr0Yw44Mf8R/KlV6P4cfs/Usfzp2180Xr53EetTdXRNdkWB+yTzE/Gjtg7SgkW0EA7lHLwoF27/Q/GKQvXToJ466jhrz5xTdQ9t2lUAADTTdRswqP+sDn7x+U0U4gf1J+IFBIG4KKbwqMbGKOPuj/qNIXNpoODe6P9NBLm+Kids7WCjKp7TaDu5n0n1FRWM6TKugX3sPgRUDiNqG6+Y6QDHvNbkTZK08ux5knXxPGrp0Bwou4lcwUqmQnMYGtxFJngQhcg81FUGw9X/6NwC92WAAQHWe0ctwKB/iK+ldIyafSds5FuF0gS7CBO6SbfuBHlUJ9HxjFHkbZn1Wr50uwy3bSg72vWx5ElSf5qn9jdBLOHcuXa5IiCFVfRRNSxS3RWOsaNezv5airOfOkbGHS2IRVUdwFKSKRQg8zQrs0Koqz9KbMSuZvKJ9aaP0ie4CtqxmnTiw15xp76mtn9E7VvVlWebdo/KpMG0miqTHkK4/JL68t9b9s1v7ExG/qmaeA7RHcQKjr9l0+2jJ/EpX41rbY4+yMvoaQe8zfaMjvikl/JLpkbMDvg0k1m0d6IfIVf8AbXROxiQBBtMCTntEKdTJB0IYSZ1HhFYxj89t3UO3ZZl1JnQka+lb0ys31G0fYX0ow2bZ+4Pf86pYx1we2aVTbF4e3PjTQtd7ZFoxACwQTxzDiN+lPsLgbSHMqAHnx99VLCbUvXIUOqknKpje0Ehe6YjxI8acDGYpR2oHiMp9KmqL1h7wmn3X1mlvpBekDskkwAN5J0AAqTxO1cZZ/W2Wtjm6uo9SsVLKu1yu4jXyohv99UB+lDEybZJ7nYSPSiHpJPsMP80n/pqdabX27jQONVjpDtLOrkHsqMi97EjMfy8qruI2q7fZLDzn3xQxNz+xReZk1rHHSWnGC7KTzrQdj9F8RksfVyqXLjj6xcaA1q1AYqpO4AAgxqWI4DSj7EtB71pTqC9sEcwXUEek1qnRmziLGEnEqVutcuMFJVjlLEjVSREkx3RW0OOkezbl3EWkw4tHDQyXFchZGkNBENuPrWXdJtj/AFTENakG2wlSDIg6RPGCD7q1BMTLRVH6b4FksYU3JLnrQSd7ar2vOJ86CI6L40WUdXAJZgROaRl5FSKsS7Qzbln/AA5v9U1UrO0OqbN2SfH46VN7L6S2CSMQzqANChJkyNIEQInWsXFdpX6xc9lSPABfgBSdy9cO8x/E3/ekrvSjZ41Fu8/8TJHvE0xvdOrC/q8Es8zcZf8ATpTqbO2dj7SeUt8Aa6bTfeYf4I+MVEXvpFu+xh8Ov8S9Z7zFNj9ION9l1t/+2gX506w2s9vZd1tQl1x3QR7ppdej94/swP43C/6oqjX+lmKf7V64fOPhTK5tS432mY+JJ+NXUTbRv0MB9q7YQ8s0+9S1A7Isn7V/8KyP5gtZwMa/CaN9fuczV1Bcdp7PwVowyYi7Os2wsHxMsAar1rZH1jEdXh7bWkYNBuEnLoYLsBHdoOIqPG0bnM0ddr3BxNUR9o+VW7oMc19UN0WgQSWIkdgFiI5kAgd8VUbj9onmZ9aebOxJRgQYIMjxqDVtpZXXBiCHuYlTrv6tchBI4SWnyq/9aDWQ7Jxt7FXVuks5QROnAQAIHCrrhXvcvfNatFpNyh1gqKsM/GndtjUU662hSQJrtENHxZNIPcbxrhShnio0NbuHlR2vH/zSXWE0GveHrRCouT/4or4W2TJtoTO8qpPvFNzfHOk3xyjew9aDF+m+xThcVcQDsMS9s8CjEmB/CZXyHOq4a2vpQ2FxFvJeYaaqwPaQ81/MHfWSbT2eLbkW361eeUqfMH8iaqGVq8y7jHHzggHxgn1oNeY8TQ6k8qNatwRmEjiJie6agu30a9GEvk4m+SqW3U2oMZnRgxP8IgDvJPKtZu7RQb3FYva6WOFCBQqqIAXQADgBTfEbfduJou1y6RdH8HduG4l3qSxlgAGUniQsjKTx4d2+avjdj2LdpgLouXOBy5AIP8fEeNQ17HMeJpo9086IViNK5deQo5TTcmjIaCY2Xisly2/3WVvHKwaPdWjbC2lfvG/buIYtMIuAdhgfsGeZWDHJhWV2Wq77G6RFsN9VuvdW0Psvayl0mJBDRK8AQZG4UFoxmJKIzIua4IVFGsuxyoNOEkVXvpEdluW7DsGaynajcrPDFfIAetTGzds2MDbVcGHuMA3bvKB2mP2woMkjy8aoe2brXXaSXZiSzbySdTJ561RWnYkk8zXIqXt7KY8Ke2NgMfZPpUFdCmui0aueG6I3G3IalcN0Fc7wBQZ0uGNKpgWPCtVw3QMcSPIVKYfobZG+TQ0x23stjwp5a2G54GtosdHLK+wPOn9rZqLuUDyoumM4bovdbch9KlsJ0Mun2R51qowy8v68aP1A5UNM8w/QaftRT5OgVniJ8quhw4odSedDSop9H+F4pNPMN0Iwa/sEPiJ+NWQWzzo+Whozw+ARBlVVUDgAAPSlltxS+lczeNAmF7q7kpQ0UmgLloUaaFBX2v0i+IPClzbopsVQwvYxqZXsdcqXbDd1Jtgp4U2iu38Xc5mo6/ffvq3Ns8cqRfZq8RTZpRMQhbhTG5gzyrQzstTuj3URthg+zUNM6OCPKifUe6tFPR/urv8Aw3QZyNn91D9GnlWkL0Zml06LChpmA2WeVD9FHlWtW+iycRTu10dtjhRdMYOx2+6a5+grh3KfSt0tbGtj2RTm3gFG5R6UNMGtdG8Ufs2mPkalMH0Qxx3WSviyj85rbFsDlRuroumW4PoFi2/WXUQclLMfgBVqwPQ20igHWO7fVqVaNNDSHsbBtLuQelPbWz0G5R6U8DV2aBJcOBRso7qMaE0VxkHGjBBQzVzrKAwFAii5/wCorheiDxXaTL1wmgUmuTSeccTRTcHOgVLUXrO6k+sFFN2gVLVyfKkus764bgoFW8aKYpLrKK908poFY7qFIdd3UKIRy0MgrlCijZK4FoUKAZBNA2Qd4oUKK6LQ5UfqxQoUQZEFKJaFcoVFdQUploUKoNk3V2KFCoDLuoxoUKqizR1oUKI4aMaFCg7Sc12hQcZooChQoOkbq6K7QoCPzos0KFEBTSVxqFCihlriIJoUKIBGlFBoUKAqrNca0KFCgGUUJoUKIBoUKF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26" name="AutoShape 26" descr="data:image/jpeg;base64,/9j/4AAQSkZJRgABAQAAAQABAAD/2wCEAAkGBxQSEhUUExQWFBUXFxgYGBgYGBgXGBYYGBUXFxUXFxgaHSggGBolHBUXIjEhJSkrLi4uFx8zODMsNygtLisBCgoKDg0OGhAQGiwkHyUsLCwsLCwsLCwsLCwsLCwsLCwsLCwsLCwsLCwsLCwsLCwsLCwsLCwsLCwsLCwsLCwsLP/AABEIAKQBMwMBIgACEQEDEQH/xAAcAAAABwEBAAAAAAAAAAAAAAAAAgMEBQYHAQj/xABJEAACAQIDBAcEBgcGBQQDAAABAhEAAwQSIQUxQVEGEyJhcYGRQqGx0QcUMlKSwRUzQ2JyovAjU4KDstIWk8Lh8Rdzs+Ikw9P/xAAZAQEBAQEBAQAAAAAAAAAAAAAAAQIDBAX/xAApEQEBAAICAgIABAcBAAAAAAAAAQIRAxIhMRNBBFFhkRRxgbHR4fAF/9oADAMBAAIRAxEAPwCx9DFOQi4QRMgEknUCdWPdupTaOFNoPDu+YAiTMDr7WgjgATUji8RctnNJg8M7x7mqp7Q6Sf2StdXM/W3LQAgTlvWnUSdwNshZ1POda31ptFdJ9mvbuWjGkOCRr9yoDD4DPeJbsqV3kwdFAjlNaThMcM56xWZcrNOkIBqc0a66DQHdUnjMOxsZ7FsPnHZyuucBgYYAkDw15VNb9l8My2/auWMOps3765QDC3WCAFoIyqAJ1B3mqVe2ldbUu277xE+Mb60TFYhbmHuWCbzQurOVZTvIylTBPKOW+qKmztNWQHk1y2p9C1LjolWI9HrS21d2btAHiTxmOO+f6in228ODlAJ7ABGsTlE6keApxtPbmHFjDLZxKK6Wwt3QmTA1nq2k6Hdzot3pDgyl0G6CzZMhFu7pBOb2NNDwprytuOvBqej+IuZ3vJdtJpmzKd0iDJMECeHrURfGZR90bx3DfJHidKd3tpWHXtYy+1ztDW3cdcpMqBmII4enGkbWLw4Eda51/uW7u+rMJ6cMpdeJ5FwGHCpIH2gCfTdSzIANNKOuMsMQBdI/itXQPcDUynRq66zbK3VO5rYuup81tn0OtevHpJqPLcOS3din3Ulz/XGirb/KranQXFs32VE6DOxtyToAOsAmnX/ptj1/ZKfC4nzrhdbemS6VrBW6fBo3b/Kpuz0Hxw/YH8SfOj2+hWNEk4dpmdGTxOmbmauWetfk5fHbfSGLg6nhvpvirkESI7uPDXw+VTF7onjwTGGuMDrAKb++W14U0fortGQThb05pH2ezrM/aNcZnl2jXx+PRoT/AF60jc/r+apkdGsYN+Hu/hJpzjtjXzZtIuCvK6Zs79W3bmSNwnSeNe/vPzeSceXnwqtwb/6+7SN1dfT/AFNU3d2JiBvw94f5T93dTK/s+4D2rbjxRh7XeKlsq4yxBva0Hl8DSN5SYEmNJ4+EVJXkga6bvjTZ03f1uNcMuOV6ceQ1wSENrxJ3mB6zSFzXv8akThR99fR/9tN7uFYSYkTvBDDzI3eBrncHWZbNctcFunAShl/rzp1XsTCV1UpXLRlFamLFyJrbo4SlVFGy10mLncxEWjZaOFruWtyOVycArlsaDypSKCLpV0zvwJFAClCK4BV0mxCKFGoU0u2u9MukdxHa3ZWBaVSWhTnuuRktgkRlCEsY37pGsvtt4/EJg7BRrCYq465gUAAV5JOXXUaDWRqe401w2B2faH65j2gZZiZIBAB5jtHhSOLw+EvYlr93EnIVAVVnSABr2TyJ38a8f9H08ZNXdB7203UicAzaEL1dyTuIIlokaHdG6mD7e2pZARrOFaNNA6GRxInLPgIqcxOEwlh0X6zetsyl0gBgyiJYELHEVzDG1duLGLZ1ZWUK1lZJ3gg5RwDHeNwrV6fTnJn9sV6U4u7dvkXhkKiAiklVLds5RMCS06c6hhdVdMuY8508gKtfS/YzLjb1tGzyZUkgSoABYxu1kDwJqKtdHXmN/PKCYFY+2t6iIOKPBQKH1x+Q/rzq42thFQIBO7hxq54DZVi6O3atZxqGdEOYbspkenKr1rPyRjIvPM6UoMTcHEe6toxmw8Mt7DuLKLrcXQKoJNskEgCD9kxO6aNtLE21ORbVstG8hSB4wN9Z0d/0YwMVc7vdU10b2/csOZMK0ZoMeB8asnSXB2HuZBbAK7yIWZA+7Gm/hUZg+jiXbttFB7Tgb+Ey3oKvpqXc20HZmJN0oA0m4yqpHDMwBPkDPlWoX7uUVQui/Q65hcTbLOr2lDOm/OOyVCsIg5c41nXTSrPtvF5Lbt90T5DU+4VnO7aZjtP6Xb63bgtWgyBmVSz6kAwGgLpMbtYneaL/AOq2M39QI5zPdrCmKoOFwidWpZXLQCSDv01ruMuMqGC4kwZJ1G+G11Na6M9l2b6YsSD+pEfxge7Ia6v0x4g/sJ/xr/8AzrPsAe1r8JqRxF7cLZnTXTcanU2vWD+lq81xVuWjbViBnzqQsmJb+z3VZsX0sxVu/wBRlts+UMoN1Vzg5hCzZiRlOkyeE1h+LzlGkhtDpug8DpWh/SRYYZMWh1ti1pzDG5Emd3aiP3qzZqtSrVc6X4xd+GPkxPws0P8AjXFccI/4bh//AFCsRxG0L91ixd9ZMBmA13hddKc2dnXWUN1xA73j4mtTDfpm5Se2yN0xuH7eDY+Nlj8YpniOk+HIm7s4EcZsWx/qcVlb4RkUn64RAmA7EnwAOpprY21iLLhreIvTwlmgxqZBOo7qtx17JlMvTWNoYnZq5et2dlzrnGRG1XQE/wBhmIjMJ5SKiANhuZRr1huavcH/AM6RHdQxa3MVgcPfRQtxHzqqt7DyGVTw7UCP3ANaqF/pNinaVcFDGUOiPw1nODxmpLb6pZFlxXQ/C39cFjbTP/duVE+dskKfIDwqo7U2Tdw79XeQo28TuYc1YaMO8EijXtsXT+tsYe4OINpU99vKRUpgtv27q9S8hCdLF58yg7s2GxDCbL/uvKHcd9dMcr9sZYS+lfK0AKltpbIZGBWXRmKg5YYMBJt3F9i4BrG4jUEjWn+zejBcS8jwIH8xBnyEd9d5Hm870rqilAKuVvoxYEZ88SBpdBJJ7jaHCTv4U9fozhANBeJ3DtLqToBI3a1dyHx5VQ8tCK0TAdDLF3MO0rqNBnzD1yg8ju3MKrF3AorsjWirKYILn8qvaJ8OSDjQ0YJpUpdwacFOv7xpvdw33Z8Dv9eNJnNsXjy0YkUWKUIolbcxaFChTQurXQ9ttOY1gxoWUyBzX0mpvYt6zdsLnVVZeyx01gaHXmPzqR/4CuHTrIU+yoC90SwYnTSaVw/0fFActzfBh5YSNx0y99eTcfSstIYG91DhezesHQoQpa1O8rm9nmtIdKNuWrV1BYVMhtksyqEjMQLYGUdpmMacApNSl3oNcYybyHwtke8OCfWs728AH6lHLJbY9rXjvygkxpu19o8axbPcXHf2hNpOUvm80sznyGgB8eAAqZ2PfzCd06kce7Wm3XLcU9mFkjXj31FnNaYsFZlI013ePdUaWS7cAI1gExTu05mqvgtodboT2vj4U+fEldJM+NLWesWC/gL6p1uU5QQ2aNwnefWmPWF2BO8tJqKbEtxYxykxVe2htZ2JVSVG7QmT51JGsr2WC7fW5cdgZ1j5CrR0AwguYxTvFu2T4O7ZR/IKz/o4cxZT3ems1qf0PYQhLt1tS1yAf3baAD/VSrJ4aJiLnbb91FA8WJLD0VKqXTrFFcHiCND1F6PHqLhHvFWC5cnOebn+UC2fehqp9OWnB3gNZtXf/guVhTW3sDZ+UArbkACeuc7hEak6VS+m+z7Fu2wsdpuvEZWL/wBn1CkiI3Z2OvdFRiXNH/hB99JhzW+zn1Pfo8wts336+UAtmJJSTmXQGNdJ0qzbWw+DBVVZcoB1NzcTuAgA8zrVPF00htSTZbmsMPWD7j7qbWwv0kwVu1aYCc3DQFWU6ghhu986Vd+mIz7O01JsWG/C1k/9RrJ/rjlCrMWXKQATMcdJ3a1ru0LRuYNEXe2ESPGMORWcvcWMzwhDJ3jXy4+6aVYRTSequR3kHuMwdRoRSmLuZEBGpOnmN9dMctMZYTI569yCJMae7d4UwuYFd+u/mabjFN/QpzhsRm3jdy9Kty2kxsaH9G+Kz4RrR0Nt2UeDRcQ/ia56VWdvYQWsRcABALZ15Q/bA8pjyp39HWIyYi4n37at5o0fC6/pUp0vsKHRyoO9STPPONAdftsP8Nc8LrJrObxVbEDM4zQJAM8BI867idmWyP1iPprEgj1GtOn2siGAbZ04ITHdoDR8RjVugMI00EARz8ju0rv4cfM8ubI2q+CuKLxD22AVXbtDKDK27wG9BvVtWSezIlauu09vug6y2ttrRMZpkq2UNkeAYMEEEaMCCO6hYiHBDbjSewtrNhLnVuBcsuMuVtFdZnIx4QSSrb0YyNCwOd3F0l7Rbb3Sdg85VLZQIn2m1IAjkF1+dN/+K7jMP7MdkyYnvAnTQSR5xRNpYZVCXLU3LVwwjQAweY6q4PZuA6cjEjjDXGEWiuc2+1EQScw4tOX7M6BuO8SNa3uGqsGyekZN3MyhIEzOhggERHIn8K1P7c2ZavkXAe0B7MSw5a6SOB5SOUZwcUCQSqAj7ojjp/XdSq7VcaZz6mtsxYLuwn10McJy++GpldwK20Jvq0zClAxEkHRoUzunyqMO02PtH1NcbafYIYnRgywd5gjiDO81jPOY+2+Phufif3IXcKGBMkkRuRpPkYmmzYE8rh/y4+LCnuJ2oWtgKHPa3aE/Z36JPOkkvYhhAsXmH8Dnv4LprUx5LpOT8PjMvJp9UPJ/wr/voVO4XCqUBuYa+HjWLeI3+QrtX5qz/DYf9tfLW3r9uMxnx1HkakbPTRFBNwQBvI7UeW/31iXR7br2mGHvuXtOYViTNtju7W/Kd3dUztFrVhWAJVrnfO5g0nMeffxrzvQ0fpF9IFn6pdayHkqQrFcqncCQTrqDppxrDLG1WB1ZtSTICnUmTv4VZNoW3v4dbVuNAoXs5Q0Fc05S0k9nWeWgmq43RrEc7f4j+a0QsdqGIV1J71y/nvpfCbS7MOd2m+T4ERTA9GcT+5+MfKjXthXghLgAqNGDA6cmA1jv4U2iQG0LaCUQgH2gtMv0kCSSTvme7gO6l/0biryAAIyjlcQ68OPIxrO4UQdF8Vwtjxz25/1U2FkxinnUNjyAxPAn41Lr0Zxen9l49u36jtVzEdFMY5/U6fx2/wDdWrluJMdVHbJ2iLTTG8EeE8a3n6ObWTBWj95c342LD3RWS7M6D4hmCunVg72LKYHGACSTW0YSLViF0VE07giafCs1o5t3ZtqfvDP+Ml/+qozHWA4hhI9NxkajdTsaKq8lA9BFIM1c9tMn279H+KssWwua/a4BT/aqOTL7Xis+Aqu3Nn4q2ZaxiFPEtbuD4it9s3Ip7bxZHGtTNOrz0Nu30EGE/wAsL6iBSzbUstZKMRnIMuARv1jKNI+VehBjjzrhxAO9VPiAadk08zWmUKxUktBAAmddCdPTzNbBtMNbw4UyrLhSp5qQtkN5iDV3BtzPV25HHIvyoYzGyUmDqQZ10KnT1C+gpctmnnPHWjLEkGF0I8R58TSBBe0O4njXpDrE+4n4V+VFJtcbdv8AAvyq94aebRhzv7P4ln0mfdUrsrZqlS7Yi3aOvZOrQO7h4VvZ6r+6t/gT5UUra/urX/LT5U7xLGFdF7+TF2TJEsU14i4rKNOGrg1c+nFg3MMxGhGV/INB/luN6Vf+rszPVWpHHq0n4UW41sGert6yG7Cazz011086zb521pgNhLo7KuoHIATp3ZZY0nZ2hcHWS0kgCSq7w2hgjvYajia9A9XaP7K1/wAtPlQNm1/dWf8Al2/lW+7PVguDxt1iJKESAQVUHX+GKfbTe0tvLd1ciYtnRDwljM+FbO1uz/c2f+WnypNsJZO/D2j/AJSf7avdOrEth7XuBWtsym2ShcOCVbq2DIW1iYULrvAAMwKsfSDBnK10WrtwPP8AalWKzlgRA0G4jzq2YvYlh7yv1NpcrBoCKo05gDUdxqxbPxos9lIAEQPZjgIG4DXd3VnvpdMSw2BxLIzhzCjM0ZRAHl3H0pxhdqXQuRmMrpMkSJJmAQP/ABW6rjbL/rLaGeIUT86icZ0K2diGLgNbdt5V2Ez+68r7q1MoaZG+2Lv9434m+dJnb19d124P8TfOr5tT6KHOuGxax924kn8StH8tZz0r6P4zBOReV+rkAXQoyNMciYM6QTrFW2BwekGI3dY47zJj1pe/jWM//kudOSnXl9iqnhVe7cCKSSxgeE7yOHOtE2PsLCpb7bi6ZksyRp5k/CuWfJMV/kqB2hdHtn0X5UKvi7OwX7vkQB6TQrHzfoM1xhlSOVOMPh8VfCk277iNHyOygDUnNERAmtpudBMCxDCyVIIIK5xBBkbjXdqbFS3ad+vvZbaOSCWIKhTmBBBkEcK76amPlm2BxO5VP2QByMafIe6pPrjvMHnIFQWHxVrKYIzhlM9oEiBI176sey4N1OWYV58MsruX6dubjxx1cfVdVv4fSukzwT3/ACqU6R4NBazKoBzASNOdZ5hcDiLy3rq3mVUvNbiW3jtDceRrrI864YGyLYhVtgEkxLbzv4U+t3Tromne3IHlyIqhW9m4siRff1b513BXMQmKS091mBUtE8O1HnK1dUaKt0iJC6idCfnTm1iCCCOyQZ0J+dV/YTHO+diQCAskmN8xyqbxV8KmkZjCru3nQHy3+VYuUktrWONysk+3L20rVts7nWTzbUkMRu/dGnCKkLHSqw9l0yvLI4XsnWVI110151FYvYqEYck6HrIEwTCaEsZ3+HGndnYQNuzo6owzb0+4SBoJYSImBXnnJz5Y7mE/d7Lxfh5l1ud/ZY8Fta3fTOiCJKkMGDKw3ggmg+IA9lPT/vUBsYi2cQgaYvEz427Z4U8uX66zevLy5SbuvSRGM/dX0rv1391fwiofra711VlK/XzyX8Irn6QPJfwj5VF9dQ62glP0gf3fwr8qQxOPMD7P2l9lfvjuph1lNtoYiLbnkpPpr+VBKYjbgt/bBM7sqA698KaNa2vnXMqMo4FkAB8JQVHLfIMgx3jShcxLN9pi0cyT8aCS+vnu/Cvyrn6QPd+FflUXnrhuU2JT9IHu/CvyolzHMQdR+Fd/DhUd1tFN6gkLm1SoByO4O7IoJBOonsngD6Uf685AJRrc7g4WSN0xEjzqDwl8lF1OmnoSP68aVNymxKHGtzHoPlXPrx7vQVFm5RS9VEh9d13D0oPtEyOyOI3DlPLuFRpek7r/ABHxoJj9It3fhX5UcbWPJfwr8qhl1NP7OFkSTPdVQ7bbB4QD4L8qLe2o95DZuBbiXOwVYCDm03xpvpnfwh9iT3bzTbB3stxCdwafTn5xVloaYDolbsfqXu2zubtgyw0I+wNJ4GpAbMcb7rnxg/lVh2ThluhiDx4RxHfTttkcp91b1FVA7LP3v5V+VCrWdkN/QrtNQ3UuF7/fTHbmFz4a+o1LWrgjmTbIFPqMp/rfUd3me1YKlu/T4VatiXtLbciNfAxPuo207MX7oCADrH0jhnMUEEDlXPWqvLzTPGTWtLTtpC9oACYYH41n2GwePsq6W1TI7lzOpk6T6CrAMW4H2j610Yx+fuHyrfZ59K/ZfaKTFpTPcvzo+z8JiXxIu3reWEKyIjeSN38RqwriW7vSlkxTclp2TRrgLmreP5mmHSHGnOqgxCk+Z7I9BPrUtkZiSF1Opim2N2L1pBZWmIkHhWMpbNPT+F5ceLlmeU3Iqd/FuWXtGQG+A/7U761iFJJYxrPOI86lrnRfVY6zfHs8fLuFSeC6HFh+205ZB8RXG8eWn1+P/wBHgmWWVl8/6/wL0HunJe/9wf6FH5VZC1EwHR67ZUrbw9wAmSSQSx0Ek+Qpz+icT/cn1FdNPi8uczzyyn3abTXZpyNi4n+7A8WFHGwsRyQeLUYM5rqoTuBNS+E6PsBnuukbgqmSfE8BSO0dq2rI1Kqo4khV9TVQxbDNyNM8avYcH7rfA0i/TXDTHXJ/NHrEU/t4u1iE0YFW0zoQ0Ty+VNBFRAihNGd8Khi5ecNy0E945jvpNsfgR7dw+tNAxNFJpF9tYEcGPiT8qQfpNgRutT/i+Zq9abPC450Q3BzFMH6Y4UbrC/H86SPTm0Ps2LfmD8qdabP8O6hRB7/Uz+dKdYP6BqFTp6QABaUQI0A4eVd/46vn7KHyQfkavWptNCTuVvwmjCy53W3/AAmoFulmNb7KXPRh+RpM7Y2g3sv5sPzAp1NrJ9Sun9k/pFFuYC7p2I1G9lHfzqstcx7bwB4sfyek3wWLaAXVZI4k7teM8qaFoxlxcOpa4yiBJMyB3Tx8qoO1enlxmIsqFXm2pPlMD30OmGONy4uHUkpbgH95o0nnA95PKmeEwSKskA1ZiHWyunt5GBuAMJ9kQfkfCK03Zu2sLctK/wBXF0trmzsJ8uHh3VhmPsgGVECd1W/6OcYSLlk8IdfPRvy9avpGsbK2qpuKtuyLYYgGGnTXu361Z4FUroxZDXpPsjN5yB+dXE3K1Apl7qFIm730KKZHGngIpviMco1u3MizEnQbiYgbzpR1QDefICozpRZD4Z4H2YbXXcdfdNb3jPS22sy6Q7bVsTc6qTbLaFlymTxgMdJ/obq5h8QTv0phtbBsvay9gcdxAnQEd0x4AUmMTdTeGHipPwrldX0nmLCijnXQBVeG2G45PQj86UTbB5Kf8UflWelXadLgV0XKh02vzT+afypVdrL9xvLL86dam0sLlKLdPM+tRS7Tt/dcfh/3UL+1UCmMxbcqxqzcBV1TaUu4ojL2mnMsASSdRMAanSfSp3ZONuz2es/C/wAIph0VtpZAa5bF28ftOzHSfZQeyo7t8VbP086iLSpa71WT6tNSiA6RdJMVby9WbjQxDqJzDsyukHL5ioJ+lOObcl7zJ/2CrDiLpa6zsSSyrJPGC/zrk1NrpV32ntB/ZueZI/MVxF2g5iDrzf8A+9WjNSON2ithC7TyAGpJiTHkKdjRvtvpD9QwqWc2e6Qd5JzMTLGd+QEx6Csxx2Lu4h89xi54ch3KNwFL4vENir7XG4nT91RuA8vzp4oCwqCSdBAkk+A31uRLUFctEbwfSnWyNp3MPcDof4hwYciKf4pbqa3LToD99GWfUCo/FWRGZd06jl/2qo0TG4a3jEtXJIB0kRIBGoPmIpFeidniznzHyqP6HYr+wZT7NxSPNhp7vfVn6/urnuxpGr0Yw44Mf8R/KlV6P4cfs/Usfzp2180Xr53EetTdXRNdkWB+yTzE/Gjtg7SgkW0EA7lHLwoF27/Q/GKQvXToJ466jhrz5xTdQ9t2lUAADTTdRswqP+sDn7x+U0U4gf1J+IFBIG4KKbwqMbGKOPuj/qNIXNpoODe6P9NBLm+Kids7WCjKp7TaDu5n0n1FRWM6TKugX3sPgRUDiNqG6+Y6QDHvNbkTZK08ux5knXxPGrp0Bwou4lcwUqmQnMYGtxFJngQhcg81FUGw9X/6NwC92WAAQHWe0ctwKB/iK+ldIyafSds5FuF0gS7CBO6SbfuBHlUJ9HxjFHkbZn1Wr50uwy3bSg72vWx5ElSf5qn9jdBLOHcuXa5IiCFVfRRNSxS3RWOsaNezv5airOfOkbGHS2IRVUdwFKSKRQg8zQrs0Koqz9KbMSuZvKJ9aaP0ie4CtqxmnTiw15xp76mtn9E7VvVlWebdo/KpMG0miqTHkK4/JL68t9b9s1v7ExG/qmaeA7RHcQKjr9l0+2jJ/EpX41rbY4+yMvoaQe8zfaMjvikl/JLpkbMDvg0k1m0d6IfIVf8AbXROxiQBBtMCTntEKdTJB0IYSZ1HhFYxj89t3UO3ZZl1JnQka+lb0ys31G0fYX0ow2bZ+4Pf86pYx1we2aVTbF4e3PjTQtd7ZFoxACwQTxzDiN+lPsLgbSHMqAHnx99VLCbUvXIUOqknKpje0Ehe6YjxI8acDGYpR2oHiMp9KmqL1h7wmn3X1mlvpBekDskkwAN5J0AAqTxO1cZZ/W2Wtjm6uo9SsVLKu1yu4jXyohv99UB+lDEybZJ7nYSPSiHpJPsMP80n/pqdabX27jQONVjpDtLOrkHsqMi97EjMfy8qruI2q7fZLDzn3xQxNz+xReZk1rHHSWnGC7KTzrQdj9F8RksfVyqXLjj6xcaA1q1AYqpO4AAgxqWI4DSj7EtB71pTqC9sEcwXUEek1qnRmziLGEnEqVutcuMFJVjlLEjVSREkx3RW0OOkezbl3EWkw4tHDQyXFchZGkNBENuPrWXdJtj/AFTENakG2wlSDIg6RPGCD7q1BMTLRVH6b4FksYU3JLnrQSd7ar2vOJ86CI6L40WUdXAJZgROaRl5FSKsS7Qzbln/AA5v9U1UrO0OqbN2SfH46VN7L6S2CSMQzqANChJkyNIEQInWsXFdpX6xc9lSPABfgBSdy9cO8x/E3/ekrvSjZ41Fu8/8TJHvE0xvdOrC/q8Es8zcZf8ATpTqbO2dj7SeUt8Aa6bTfeYf4I+MVEXvpFu+xh8Ov8S9Z7zFNj9ION9l1t/+2gX506w2s9vZd1tQl1x3QR7ppdej94/swP43C/6oqjX+lmKf7V64fOPhTK5tS432mY+JJ+NXUTbRv0MB9q7YQ8s0+9S1A7Isn7V/8KyP5gtZwMa/CaN9fuczV1Bcdp7PwVowyYi7Os2wsHxMsAar1rZH1jEdXh7bWkYNBuEnLoYLsBHdoOIqPG0bnM0ddr3BxNUR9o+VW7oMc19UN0WgQSWIkdgFiI5kAgd8VUbj9onmZ9aebOxJRgQYIMjxqDVtpZXXBiCHuYlTrv6tchBI4SWnyq/9aDWQ7Jxt7FXVuks5QROnAQAIHCrrhXvcvfNatFpNyh1gqKsM/GndtjUU662hSQJrtENHxZNIPcbxrhShnio0NbuHlR2vH/zSXWE0GveHrRCouT/4or4W2TJtoTO8qpPvFNzfHOk3xyjew9aDF+m+xThcVcQDsMS9s8CjEmB/CZXyHOq4a2vpQ2FxFvJeYaaqwPaQ81/MHfWSbT2eLbkW361eeUqfMH8iaqGVq8y7jHHzggHxgn1oNeY8TQ6k8qNatwRmEjiJie6agu30a9GEvk4m+SqW3U2oMZnRgxP8IgDvJPKtZu7RQb3FYva6WOFCBQqqIAXQADgBTfEbfduJou1y6RdH8HduG4l3qSxlgAGUniQsjKTx4d2+avjdj2LdpgLouXOBy5AIP8fEeNQ17HMeJpo9086IViNK5deQo5TTcmjIaCY2Xisly2/3WVvHKwaPdWjbC2lfvG/buIYtMIuAdhgfsGeZWDHJhWV2Wq77G6RFsN9VuvdW0Psvayl0mJBDRK8AQZG4UFoxmJKIzIua4IVFGsuxyoNOEkVXvpEdluW7DsGaynajcrPDFfIAetTGzds2MDbVcGHuMA3bvKB2mP2woMkjy8aoe2brXXaSXZiSzbySdTJ561RWnYkk8zXIqXt7KY8Ke2NgMfZPpUFdCmui0aueG6I3G3IalcN0Fc7wBQZ0uGNKpgWPCtVw3QMcSPIVKYfobZG+TQ0x23stjwp5a2G54GtosdHLK+wPOn9rZqLuUDyoumM4bovdbch9KlsJ0Mun2R51qowy8v68aP1A5UNM8w/QaftRT5OgVniJ8quhw4odSedDSop9H+F4pNPMN0Iwa/sEPiJ+NWQWzzo+Whozw+ARBlVVUDgAAPSlltxS+lczeNAmF7q7kpQ0UmgLloUaaFBX2v0i+IPClzbopsVQwvYxqZXsdcqXbDd1Jtgp4U2iu38Xc5mo6/ffvq3Ns8cqRfZq8RTZpRMQhbhTG5gzyrQzstTuj3URthg+zUNM6OCPKifUe6tFPR/urv8Aw3QZyNn91D9GnlWkL0Zml06LChpmA2WeVD9FHlWtW+iycRTu10dtjhRdMYOx2+6a5+grh3KfSt0tbGtj2RTm3gFG5R6UNMGtdG8Ufs2mPkalMH0Qxx3WSviyj85rbFsDlRuroumW4PoFi2/WXUQclLMfgBVqwPQ20igHWO7fVqVaNNDSHsbBtLuQelPbWz0G5R6U8DV2aBJcOBRso7qMaE0VxkHGjBBQzVzrKAwFAii5/wCorheiDxXaTL1wmgUmuTSeccTRTcHOgVLUXrO6k+sFFN2gVLVyfKkus764bgoFW8aKYpLrKK908poFY7qFIdd3UKIRy0MgrlCijZK4FoUKAZBNA2Qd4oUKK6LQ5UfqxQoUQZEFKJaFcoVFdQUploUKoNk3V2KFCoDLuoxoUKqizR1oUKI4aMaFCg7Sc12hQcZooChQoOkbq6K7QoCPzos0KFEBTSVxqFCihlriIJoUKIBGlFBoUKAqrNca0KFCgGUUJoUKIBoUKFB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51230" name="Picture 30" descr="https://encrypted-tbn3.gstatic.com/images?q=tbn:ANd9GcTXKxFvFlwJ-VLAqUiznjfVz4uzaugTBBWX371iCmLdRbqPc1ukfA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144000" y="-2819400"/>
            <a:ext cx="4298131" cy="3219451"/>
          </a:xfrm>
          <a:prstGeom prst="rect">
            <a:avLst/>
          </a:prstGeom>
          <a:noFill/>
        </p:spPr>
      </p:pic>
      <p:sp>
        <p:nvSpPr>
          <p:cNvPr id="51232" name="AutoShape 32" descr="data:image/jpeg;base64,/9j/4AAQSkZJRgABAQAAAQABAAD/2wCEAAkGBxAPDxAPEBQUEBAQEBQQDxQPFBQQFhQWFRUXFhQUFBUZHCggGBslHhQUITEhJSkrLi4uFx8zODMtNygtLisBCgoKDg0OGxAQGywmICUsLC8sMiwsLCwsKzAsLC83LDQsLCwsLCwsLzQsLywtNCwsLCwsLCwsNCwsLCwsLCwsLP/AABEIAOEA4QMBIgACEQEDEQH/xAAcAAEAAQUBAQAAAAAAAAAAAAAABgEDBAUHCAL/xABOEAACAQMCAwUEBQYIDAcBAAABAgMABBESIQUGMRMiQVFhBzJxgSNCkaGxFFJicpLBCFSCorLR0vAVFyQzRFNjc7PC0+EWZHSDk8PiQ//EABkBAQADAQEAAAAAAAAAAAAAAAACAwQBBf/EAC8RAAICAQQBAgMHBQEAAAAAAAABAgMRBBIhMRNBUSMygSJhcZGx4fAzQkNyoRT/2gAMAwEAAhEDEQA/AO4UpSgFKUoBSlKAUpSgFKUoBSlKAUpSgFKUoBSlKAUpSgFKUoBSlKAUpSgFKUoBSlKAUpSgFKUoBSlKAUpSgFK5xzZz/Fw/iAt55mj0zRO2I3ZBAyrqzpByff6AnOKzR7XuBfxo/wDwXH/TqMZOWeGiUo4xyTqlQ2P2qcEbpeIP1klX8Uq+vtI4Mf8ATYfmWH4ipESV0qLj2i8H/jsH7X/aq/4xOD/x63/boCT0qL/4xOD/AMeg/bqn+Mbg38dg/aP9VASmlRRvaTwYf6bD8ix/dVvkTnFeKPOEdH7FIi3Zqw0s5kyAT7wwg3/rrjeGkdSyskvpSldOClKUApSlAKUpQClKUAqtUxSgFKUoBSmaUApSlAKUpQHnb+EVFjicLY96yi38yJZwfu01yeu1/wAJKH6WxfzhmX9l4v7f31xWpx6OGbbcHupYnnjgmkgjz2kscTvGmkZbU4GFwCCcnxrKseVr+4x2NrPLmNZRojY5RywR+nuko+D46TXROQI7lbbgpg1rD/hC8nv3AbshCixLJ2xHdAKBwNXjW2to7cW9ktw06RTrwS2Q28giIc29zMgkbSTozKurTgjIIO2DzJ05Vacn8RlieeO1maKMuHbTgKY89oDnoRg5+FVTk/iLLbOLaXTeHTbEgASHSWAGTtlQSM4yASK6VzTbzz8NaaTh8sj54nNLJHcmGO0ZrubUGQKBNp053xnHrWo9othehry47dVtL+6t0sowysLiMITE8ePcWMaR4e9j4tzBFj7PeLCVYDaSCV0aRVJQd1SAWJ1YUZYDc75qzw7kjidx2vY2zt2ErQyglEZZFAJTSzAk4I6VNuLRvxKbj1raPEk78Tg1CSRIhJbW/axHSzbEK4ic+gHXpUguOOWDXEJzDNJPf3M1lNLKyxJPbW1vDDNKqsNSPJFtkjrkU3MHCWUgkHYg4IOxHoa7b/Bsb6TiI847Y/YZRXFbmVnd3fdmdmYjzJyenrXZv4Nr/T348TBCfseQfvFdfQO7UpSoAUpSgFKUoBSlKAUpSgFKVWgKUpSgFKUoBSlKAUpSgOO/wkLfNvYyY92WaP8AaRX/APqFcBr1rz1a283Ypcxxyxqs0wEo1AMgVc/ZI1aTluw4QkKCe1tO2UsNSW0b5XUdBJVTk6dOaqWpipuD9C3wy2KSPOUfF7lYTbLPMLc5zEJXEZycnMYOnf4VaN1NIAheRwNOFLM2NC6UwM+C7DyG1etYJ+EA4UWiHyZI4j/OArd2vYkDsuzI8Oz04+6rlNPorcWuzxqvD7qU7RTSHJPuSOck5J6VkryrxE9LK6OfK3m/s17JpXdxw8iRcg8XYAixuPnGV/GsyH2XcbfpZuP1niT8XFer6U3A8vRexzjbdYEX9aaL9zGpz7GOXbjht9KLgxYngeJOzfWS8UmW8OmNX2V2iuWPDcteRw27KjtNdorPtgpJKxwwBIyFI2rPfbKLil6suqhGSefQ6nSoC3DuNp9ZZP8Ad3Df84UVbe54ymxjn/kGJ/7Vc8zXcWPEn1JHQqVzr/xFxCP30uR5l4Nvt7ID76+k54lX3mjB8pIt/ukH4Vz/ANMV2n+Q8EvTB0OlQi252Zv9S/w7RB92usqbnURBWljUq2d4ZC+MdchkWurU1+4dE/YltKtwSh0V1911DL8CMirlXlIpSlAKUpQClKUAxSlKAUpSgFKUoCO84whlhzuHaSEjzDxMx/4YqJ8q8qxXtvK7SSRyR3DxqUKkEBUI1Kw/SPQg1NuaU+gVvzJoj9rhD/TrU+zgYjvF8rw/fFHWJwT1GH6o1KTVGV6M168q30I0q8dxGOme6T8UcED9qsGXhEqHMll/KiTf45hO1dMpUpaOD6yjkdVNdnMkuljIAkubc+ASdwP2JM1tra/uNLMt4xCqXImhjbYeq4NTV4wwwwDDyIBrn/P1qkSz9koi/wAmVvovo9y7gkhcZ6D7KotqnTHcpMtrsja9ribLgfOBlnigk0sZSVDIpjwQpbcFjn3fSphWDZcJtoyrxQxRtjZkjVW3/SAzWdW6uMorEnkyTcW/srAqBWMeOKoPzb26z/7kLyD+nU9qGImOMt63GsfOy0/ihqu9cw/2RZT/AHfgyZ0pStBQK+XQMMEAj1Ga+qUBzz2gWcZnjVURSID0VRu8iqD0/RNTD/w7ZfxaA43AMSED4AjA+VRXm5tXEAvlFaj9q4kz+Aqe1mqSlZPPujRY2oRwUVQBgbAbAdMVWlK0mcUpSgFKrSgFKVSgFVpSgFUrW8x3LxWk0kbaXAGlgAcEsB47eNRLmDit3Z6QZywUiSQ6F1FQwLKPDGnPhXMg6BSqKc7joelK6DX8fj1WlwBuRE7L+so1L94Fabkb3r7yNyrD5xJWh9pfEZYblU1SCF7XUESSSEMyO/aboRnZo85z4VF7Hi8zlp7S6mtnyFZX7OSNtOw1LjHQddOcVhssSt3NcLhmuEM17c8vlHb6rXKYPaBxWBT21rDdgDaS3Zo/m4Gv8FrT8R9snEQCIbO31D86V5cfFO4a1QthLpmeVco9o7dUB9omP8o/9Kn9OSuU3/tr4ycjEEBx9SFsj1xIzVu+T+YbriNldTXkhnlWRYwxVEwgCkLhAB1ZvtqrWJ+L6ou0v9T8zuMMoWJGYhRoXJYgDp5mtDxP2gcItgTJewEr1WJxO3w0x5Oa8n8Sv5p3PaySS6SQvau0mBnw1E1iVrUDMegOa/bRw6S3nt7Zbh3kRkSRVWJQSNiCzBvuqFWPO1uerGMk6u+hHexjVqTx9c1zSlQs00LOyyu2UOjunDec2OBDcsT5JP2n8yXV+FSK253uVHeZGH+1iwf2kYfhXmmsu24pcRY7OWRceAc4+zpVD0k18k2W+eD+aJ6hteeiffhVvWGYZ/ZkVfxrZw84Wx98TRerxMw/aj1D768xWvOd4nUpJ/vEH4ritxZe0HSe/Ey+sUn7iP31Bx1MfZ/z6HfgS91/PqdivuIQXPE1eKRHQNaISGG2mRnIPkcGuiA5rzzZc82k2Fdt2ONNxD2mfsDVJeH3YaSAWzGPXIiEW5kQAlwMED3djnBxtVULZ1t7o9snOqM0tsukdipVKV6BiK1SlKAUqtKApSlKAUpSgId7WL97fhcjxtpczQIpwG6yqSMHY7A1zDnDmS7kkCmQAHK7Rxg+6PHFTj25T4srSL/WXqn5JHIfxIrmXMvg3k/7hVU3yb9NXFwy0dx9nPEzdcJspScuIRFIT11xExOT8ShPzqSVy/2F3+Yb20PWG4EyD9CZf7SN9tdQqxGKaxJo1fMfAor+Awy5BB1RSLjXE4BAdD57kY6EEg7GuVcwcqXvDojL3Jo1IMkkKkemqWPqo294FsZ32rtNUYAgg7g7EGozgprDOxm4vKPP1txrQcSK0bef99xWzS4gudpBHN+uBqH8r3h9tSLnLk3sA09umu296SIDU0Pm0Y6mP9Ebr4bbLDIuFQSFSHaIHcOg7UYI2YDIJHTofhmvLsp2yx0ehC3dHPZXiPAbMgd94Q2cB1/KI9t/HcD1zWXy9weW1hnjgSO4SZg6m3kUAEYByrkHw8M1evOVr+JAzR/ltuw1LLasZSB4EKO/8Rg/GrNlxFIFwSSAcE+8UOw0vjodvKpThNVd5+4jGcHZxwQm49m12oOHi1DqkpMbfb0+0iofd2zwyPFINLxuUcZBwynBGRsd/Ku2XV6rOZR3lcqFOcljhQAPXO2Ki95yOk9zJLJM2qaR5XSMKoTWSQokY79TuQOma06fVy/yfoVXadL5DmtK77yV7H7CWHt7pZXEmDCpkKZT85tIHXw9APOpvYezTg0HuWUTf77VP/xCa3RsUllGRxw8HkxFLEBQSTsANyfgKkPDOROK3P8AmrOcjzdOyX9qTAr1pZ8OggGIYo4h0xEip0+ArKpvZw83WPsTv9Blu5YLOJV1uSxmZQBk5C7fzqscN5Gtvecyz5OmNT9HqJOB3V38hjPWuq+0HjXayfkMR7iEPdMPMbqny2J9SvrVzkHg3aN+VuO5GStuD4sNi/y3Hxz5VjstnOeyD/E0wrjGG+Rp/wDE4qhJba5azuNKlhGupUbG+hlZXHx1VJeUuU5rebt7xo5p0j7NJItXf3PfcMO6wBPn7xNTKlXeOOU/Yp8ksNClKVYQFKUoBSlVoClKUoBSlKA5L7dZ/pOGxeZmk+zs1H9I1BuODMJPk4/CpN7bZ9XE7WPP+btdWPLXK3/TFRu+Gq3k/WFUy7PT06xWjb+yW/7Hi8SnZby2eH+WmJF+5HHzrvVeWuH3xtpLO7H+jXMbt+qGGsfs6hXqRWBAI3BGQR4g1ZF8GPURxMrSlKkUCue838mlC91ZLlSS09unmdzLAPPJJaPx3K4bIfoVKjOCmsMlCbi8o5TwnmCKJEjXtRGxyxD5G/vEJnBO3Tb7amZ5csryNZJMXAYZVxhDj0dcMPhnqK1fOfJxlLXVoAJj3podlE36SeCyfc3jjqIzyxzK9m++WhLESxtkFSDhsA+646FT5YPmMu51vbPov2qazDst81cDXhVwhRg1vPkxq5y8TrtlvNd8BvXB8DWJayRl07YF4w4MiqcFlzuN/wC/htV69nm4hdFiuqW4PZxIdwkf1U+GMkn4mr/MvK0nDVVwxltcKGc9YXxjD/7Mno31eh86zyjublBcI0Re1KMnydYsriOWNHiIaNlGkrsMeWPDHlV+uUcq8xPZyaWy0LkdoviPDWvr+OPOp6/MsGMoS4IyD7i/Mnf7q3VXKa+8x2VuDN1Wk5t44LK3LjHav3IQfzvzj6L1PyHjXyOKzNqfASJVLFsbADJOXbbAAz0qNXnNlszCUQdvIo0xvMF23z3M5I8OgHhS2xRj3g5XByfRH+C8Le5mWEE6nPaTudyBnLMT57/MtXXbW3WJFjQaURQqgeAHStdwCxZFM0qhZ5gpkA+ooHcjz44ycnzJ9K21coq2LPqSus3sUpSrykUpSgFKUoCtKpSgFKUoBSlVoDz57V5w/G5gDns4oIz6HTrx/PrCXvW8tWeep9fGb9v/ADGj9hET/lq9Ybwyj0qh9nrU8QRoUTXBKnpmuycrXLng9txNZpXmjSNJld8ppjfs5U7MbdATnqNq5Bw/33XzBFdE9kXEozw3idjM3uOzIuxYieMgKg+sdaMQPNqlEzalcZOxqQQCNwdxVa1nLMzSWVszghjCoOoEE4GMkHcZxn51smYAZJA+O1WmIrSsKbica9O8fT+usKXizn3QF+O5oDdVyXna7gmvXeJVAj7kzrnE0i+Y6HT7urqdx0Are808ckjTsw57WUHG+NCdC+3j1A+flWh5R4Ab2XOMW8GNWejN4J6+BPpgeNZL5OT8cTTTFRW+RicA44bW5EuhWKDsZFI0sM4Y9d1Y5Bz4gjwNdHXjqXEWUVXjcFSH3zkbqy/PcVgcx8lLdL2qOEulXCuRhZFGcRSgbld9m6rnbYlTBuGcTm4dcMrphkIWeGTByPA56equNvvFE5UvD5QaVq44ZXj/AAf8iJljGbMt6k2xJ9xz/qT0DH3eh2wa2HLPHRbTfSKGjY97u5ZP0kzv8R4/Gp3Bxq2uINUYEiOCjoQNsjDI6/Pp41zLmHhIsWDof8jdtKAnLW7HfRnqYvI/V2B2wajbXt+JWSrmpfYmSnnvj6yhbSBgUYLJOynIIO6J+BPyHiaxuReC9vN+UuPoYDiMHo0g3B9QvX4keRqNIuvuk6NwC2M7Z3O3XHWuqcJuoIYY4UBSNFAQ7NkddWR1JyTn1qNXxbN0vQ7Y/HDajc0q3FOje6QfhVyt5jFKUoBSlKAUpSgFKYpQClDXzLIFVmPRQWPwAyaA+qVquXOPw8Qt1uYA4jYkL2iFCdgc48txvXzb8zWM6ydhcwTMiuWWKVHYaQSe6DnwoDzZxScyXt3Id9d1O32ytitzwc5jkHpUUsZNQBJyxGW+J3OalHAz3XHoao9T2IfKjTwtpm+dSb2a3McHGgkqh0uIZEUMMjWoEiHHnhHH8qovcbSn41de9NtdWt2P/wCMsch9VVgXHwK6h867EpuWYs9HTcVc7LhR9prGVJJD9Zvjms3h8cJznc+Go+Hgaz5LuNBjI+Aq48018PCGPvHHoNzX1xA29nC80gyEG2dyzH3VX1Jr7l4uOiLn1baucc38wtcuBkdmhIhGdKs56ufvA9PjVV1myOfUsqr3yMCR5r25xsZp23/NRQOnoiqPu8zXTuGvBZwJBFlgg69NTH3mJ8yd6hPJMcQVzqBuWzrRtmRAdtIPvA7EsuR0HhUmqvT14W59snfPL2rpGfLxWQ9MKPtNaDmDhK3qjWdMyA9lLjJXPVWH1kPivzGDWwqtaGk1hlKbTyjlqtd2E7LlklAGoIQC657rDI0TIfAkA9RscitpxPiEkwVptJITRpUYXf3u6Sevj8K3fNc8bGOMqpeM9pqIyY8jGlT4aupHovy1XL/DBdys8gzBHsRkjUxGyAjfpuSPTzrzppufji+DdBpR3yRrks3t7dZ1dZLfcOUOtrQk91ZfEJ6/Vzg7biQcvcd7L6KXeInbP1CfEenmPn51bu+U3jbtLSTOARonYq2PFVnA7w/RkBB8TUTfXZOIpleJD7omAVovQMO7JFvjUpOnIztuJTjOtqS/ZnIyjNNP9zryqpwUbB6jJ/A+NZMd9LHs3eHr/XUH4DxoJiKQ9z6pP1P/AM/hUtSUjocj13Fa6rVYsoy2VuDwzdQcTjbr3T6/11mKc7jf4VGXZT4YPp0q9bCUbpk/A/uq0rJDSrNqzle+MH0q9QClKUAqtUqtAUrSc68aFhw66uyNXZRHSvmzd1AfTLDPpmt3UB9uPEOx4LOgOGuJIoF+bBm+HdRqA+ObZW4fy4zWr4jS0t4ldECSBJDFE0qlSBq0sT0G5znatB7BeD20dtc8QgDzyvIbcBhGjoqBWKDL4yxYHOfBfKudvw3iCw9ha3xuLOdGST6RlgCDsgMhiQoPaqN8EMjj6uTsuUeN8Z5fSWJbMTQtIZJQQZCrKg1d6Njo7q57w8CfA0B98x8QbjnHgkjNb2sLtC2AdccMJ+mLhMnUxBGegyvlUs9ot3we0sS3Do4HupW7KM2xz2QA78kqocZA2GodWGxANc75Z5yjt+OnirxmKGWWZ5o4sSECVTkLnTnvEHwqRe13m6y4h+R3HD52EsZljmULJC+GCMjHIGQCrDqetcwTUse5tuRPZv8A4SsheXkkkDTNqtxCEGYxsHcMp945I6bAedQPmZIVuJ7aBzPFbsU7YgLrIOlgFGds5Gc746V2HgfL1vecIhu7Z54bp7AEm2uZVHa9nuGj1ad2B2xXC+HMHiYhVU7Du532z0+dRaRdXOUpYyd55Jv/AMp4ZZSk5bsBE5PUvCTExPqdGfnW6qHewW6WW1u7N9zDOJkz4LMoGB6aomP8qp3xO17EahjBOFB8T5fvrrkksspcXu2ojXMvEezQxKcMwzIR9VT4fFvw+NaTlrhYuZDNKA0MZwFYZV38FIPVRsT8h51j3iPd3QhjOSxJd+oAHvOfQeHyHjU5tLZIo1ijGEQYXz8yT5knJJ8zWStO6e99I0T+FHau2R7inKw2e1OkqdSxMxXB84JesZ9Dt+qKt2HMUsTGK6V3K+8SoWdB4F0G0i/pLv8ArVKqxuIcPiuFCyrqx7jA6XQ+aMNx+B8c1e6sPMOH/wAKVZnifP6l22uElQPGwdDtlTnfxB8j6Herd/dCGMudz0QfnMeg/v5VGLnhVxZsZomZlHWWMZfA8LiEDEi/pAbeS9acW4m5jV5NIkK6UVM6QfrSDO/l/cVVZqXGOGsSLIUKTynlGvuQ88oiTvSyN3ifFj1J9Bvn4H0qcWNosESRJ7qDr0LH6zH1JrTco8M7OP8AKHH0ko7mfqx9R8C2x+AHrUgrumq2rc+2c1Fm57V0hVu5t45UMcqrJG3vJIodT8j8etXKVqM5A+P8DNj9LDk2fiCSzWx9SdzD6ndPHbcbLl3jmnEMx7vRGP1fQ/o/h8OkrC52232OdwQeoI8RUG5i5bazIktgZLZjuiAu1sT4ADcwn+Z0933ctlTg99f1RphYpLZMnSIScAZrNtuHy5z7vzrB9nTTNZ6pR3dZWDWpV9C905yM41BsenpipVWiMtyyZ5LDwfMakAAnJ86+qUqRwUpSgFKUoBXIPbxdu03DLaOIXJV5Lt4W3V+z0qgdfFTlxjOT0HWuv1wT2j36zcwTqboWZtraK3RjpA7/ANI/vbHZ8Y2OSpyApNARO6ThzZ7eGbhsjEfUkTZXAKgjKsCFkGrQuG7PZsOzX3lk/JpJba/1hYWzDclJ3I31rG7AOG1N+YoI0EnOFGzvRxG2XtxJDfxRIWmZS4MiKrBXk3KSY7NTqILZBGT3qg15c29xM1xGwsXJBWNUbs0xgDQ6ZbYAEnTnJ8etAahTjaroNbjF44GDFer5AR3DnUem47UE48MMB5VizSwg4lt3hc5z2TsnjgfRyBsgeWRnzFAWLW5eJg8TvE46NEzRt9qkGtrw/aMebd4/P/titXdJEADE7PknKyJoZfLJBIOd+lbWLYAeQxUJmnTLlsmfsW4j2HGVjJIW6gkhxvjUuJVJ9cRuP5XrXe+L8MS6iaJyVBHdZMakbGA6EggEZ8iOoOQa8zcoQyf4RtZowcQXEcjEZ/OACfFs4x5E16mrq5WGQu4nwRfhvKUdmj9m7yu5y7y6c4HRF0qAFHXHmao6EHB2qU1i3lorg+ddSSWEVNt8sj1KuTR6TirUjYBOMnwHmaNpLLCTbwjX8XugqlM4GnVKfJPL4n+/Wozwq1N9cl3GIY8Fh4YHuRD4+Ppnzr64/cs8otY++7SDtMfWkPRfgv3b+VSvhPDhbxLCveI3dgPeY+837h6AV59ad9m99I2TfihtXZl0rOt+Gs252FbKCwRPDJ9a9ExGjjt3boDWXFwpz1OK3QGOlVoDAi4Ug65NZcUCr0AFXKUApSlAKUpQClKUApSlAM15NueM2s/FL27uvpEmmmCKVDIUZsKde5XCjYhSemMV6xcZGPOvNPMfsW4pbs7Wypdwhjo7NwsmnfBdGxv6KTQEf4vbxv2T8MXcITOsDuzatRC/Rk5I09cD6xzjpW5ueUZGYogtrnBbcIbV2ACd+MxZR1Aden1g4w2nJiN7YT2cckVxFLBJI6ACaN48ouosO8N+92fTyqxZ8YuISCkjDB1Lk6gDjGpQc6WxtqG+PGgLyW1tK2iMzJJvgEC4U46boFbHUk6Tt4VlQ/lQXTFNHcpt9HqWXOk4UCGZQW9FCn4Vci4lHA9vO0AExUyZhYxDvFlB07r7vQKF365rP5h41a8RQYWG1nMpkkd4ypbJY6Q6KxIGs5LYzhdtqA00VvNcXUUHYrFLkLoCdjnHeLMDsDgHyqccO5LYlTcPjJ2jgy7N6aiPuAPxrB9jXBhdcUcSZZbe3kbKNtklY1Grywx6V6R4ZwmC3H0caq2N26sfixyfvrjWScbJRWERHkvksQmOaVBEkR1Qw+Or/WSHz8QDk53PTFTylVrpApSlKAsz2qv1FQrmfiq2gkVciYELGGHgR/nR4Fdjg+Yx4Gp3Wu4pwG0u9P5RDHNpyF7RQ2A2NS/qnAyOhwKpuq8kduSyuex5wQfkLl93H5Y43kGIc/mHrJ/K8D5b/WroFtZKnqavxxhVCqAqqAFCgAADYAAdBX3U64KEcI5Obm8spSlKmQFKrVKAUpSgFKVWgKUpSgFKUoBSq0oClKUoC1c20cqlJEWRD1WRQ6n4g7GoZxz2TcHu8nsPydz9a1PZfzN0+6pxSgOFcf8AYPMe9aXayBQFRLpShAHQa0yD4/VFc8437O+LWee1tZGUfXgHbr8cpnA28cV64pQHHP4PvLM9vHc3c8bRduY0hEilWKJqZmwd9JLLv46a7HSlAKUpQClKUApSlAKUpQClKUApSlAKUpQClKUApSlAKUpQFaVTNKACgpSgBqlKUBUVSlKArSlKAUpSgKVWlKAVSlKAVUUpQFDVRSlADVKUoCtUpSgFVFVpQHzVaUoCtUpSgFKUo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34" name="AutoShape 34" descr="data:image/jpeg;base64,/9j/4AAQSkZJRgABAQAAAQABAAD/2wCEAAkGBxQSERQUERQWFhUWFx0VFRYWGBUYFxgcFhcXGBcXHBYcHCggGBwmGxYZJDEhJSkrLi4uFx8zODMsNygtLisBCgoKBQUFDgUFDisZExkrKysrKysrKysrKysrKysrKysrKysrKysrKysrKysrKysrKysrKysrKysrKysrKysrK//AABEIAMIBAwMBIgACEQEDEQH/xAAcAAEAAgMBAQEAAAAAAAAAAAAABgcEBQgDAQL/xABNEAABAwIDBQQFCAQMBAcAAAABAAIDBBEFEiEGBzFBURMiYXEyQoGRoRQjM1JykrHBJEOC0QgVJWJzg5OisrPC0lNjo+EWRFR0pOPw/8QAFAEBAAAAAAAAAAAAAAAAAAAAAP/EABQRAQAAAAAAAAAAAAAAAAAAAAD/2gAMAwEAAhEDEQA/ALxREQEREBERAREQEREHy6XUK3wV8kOGvdC9zHGRjS5pIdYu1AI4cFV2AbzMSvDSxOic5xEbHzBxcSTpmfm/JB0OiqDGMdx+nMQcaMiWQQhzGuIa598ue9rDTjr8RfMZUY+572/KaEZCATkf6zQRpl8baoLTRU1hGMY5UNlJrKSHspTBIHs1Dm26NIsbi1yL3C/GE4hjtSaoMq4m9hI6EF0TQJXs4gad0WtrrxQXQiqOlgxySBspxFjCWZ+z7FhcDYkNva3LitM+txv+LRXGvI7olMXZw3EZ9cuycba2twvz0QXpdfjtm3y3GbpcX9ypjaEYtT0j6huLGXI1sjmNiiacj9MwNjfXw1sVHN12KTT43TyTSOe+TtBI42u4CnlsDYW4tb90IOjkREBERAREQEREBERAREQEREBERAREQEREBERAREQQPfYP5Kf/AEkf+MLnmiNqiH+lj/zGronfOP5Jl+3Gf74XPGGQl9VA0WBMrBqbD0xzQW7XS5pMXY7UMnp5WeBDYTcdNWj3LPpoDLV4gwOy2qKZ9z0Z2biPM5be1araUtgdUuMjM1dUQMjbm1AbkDy7pbKdfLqsrFnxRurpe3jF5KaUjMLgROjcRa/Ehpt5hBr8Lpm1ZxaOb5tprWOLX6XyEWbx4uyi3mFpqrFpIMOwqqDnOd8pfNLrbOXFxcD5jMPat9jEdM44gz5fTwOqJYJWu7RmZnZsicdMwvfKfvLGo8ewySGenqXR9lTTZ4Rm0ka0Atcyx7xLswsL3B6FBhna+d2GVFaLCRtUwRixLQ1rWtDSL66HXxW+kNq6enP0T8LbYcrRlzfweoOMQpHYJURmdrZZJ3TCLTMO/wBxoHTKOPK/gtrXbZUjqFs2f9MNMaMtF7tDi3O48iBluD42Qb7aZhGEyvj7z3UdPG9twMjBcl/j6TvcofuaF8Xpf60/9CUfmt7W7SUL2zxNqLskoWxAhrjYx5wANNXkPGn81aTco0/xtT3GobISOnzTx+aDpRERAREQEREBERAREQEREBERAREQEREBERAREQEREEK3w2/imouObLeHzjdVCd12wVDXUInqYnuk7RzLiWRos0i2jXAc1N98Ed8Kmdf0CxxHWzwLfH4KodmJK0QfKaNkvZBxaTEToRa92N8xyQW/Fuswof8AlWn7TpHfi5ZTN3WGDhRQ+1pP4lQPBt68zLNna2S2hzfNv+8AR8FOcJ3gUk1g5xicfrju/fGnvsgy4th8Obwoqf8As2n8QsqPZeibwpKceUMf+1bOCdr2hzHBzTwLSCD7QvRBgMwWnHCCEeUbP3L3bRRjhGweTW/uWQiDy+Ts+q33BUHgeLR0u0NTPM7LGJZ2OI1OpLQLcSLge4LoFc8bP4RFWbRVcE4LojJUuLQS3VrzYgjxQXdQbVUc1uzqI7nk45T7nWW3a4EXBuOoVYYjubi1NLUyxHo8CRvwLT8StM/YfGKQ3ppWygf8OQscf2TYfEoLqRUg/b3FaIgVcTwOAMrND4B4sCf2ipJsfvU+WVMVO6nLTISO0a7uizSdWkeHXmgstERAREQEREBERAREQEREBERAREQEREBERBEt7Db4RV/Zb/mMUe3AH+TpB0qHf4WKSb0RfCaz+jv7nNKi/wDB8d+gzjpUH/LjKCb43snSVf08DHO+uBlf99tj7CqC3l4K3D63sIHPLDG2QZjqMxcLaWv6K6YXP2/dv8ps/wDbs/xyoLS3c7JfxfE/54ymbK83bbLZvDib8fgpesfD/oo/sN/whZCAiIgKh93Wu01Wej6v/Osr4VD7stdpKw/zqs//ACAgvhEuiCsN/wAf0CEdZx8GPW43OQgYRTmwuc5J5/SO5rRfwgXfolMOtR+ET1Jt07bYRS/Zcf8AqPQS5ERAREQEREBERAREQEREBERAREQEREBERBEN6tbGzDKlj3APljc2Jp4vcLGw8VDNweJxRQTwyvDJHz52Nf3S4dmxul9CbtOnFbfflPE2liEjJC8vJhey2VrgO8H3PAjp0VFHFpAbDKB4gkoOv7qhN+cd8Sjt/wCnZ8HyqP0WMyStFpZL8xndp7LrDxh5Dsz3XNraknmdNfEoOlKHEWNhjuQO43iQPVC/Mm0VO30poh/WM/C654jdoPJezWO6IL3l2zo28Z2ew3/BYku8KiHrud9ljz8SAFSLmnmv3CLFBZm0G9GMwSNpGyiYttG9zWZWnqQSb+5VFg2PTUdW6qbmbM8uL32a5ru0dmfdpFgCRfS3hZZ01ORcrFMSCzsB3vsdYVEY+1Edf7Nx/NTzCNqKWpt2MzS76ju6/wC66xPsXNc2GtOo0PULzDZo+BzjoeKC2P4Qbv0ekH/Ncfcy35qYbr22wmj/AKO/vc4rnjF8amqGRxzPfaMktDyXAEgA2J1HBW3uk22ZI2nw8xuzxxENkBGVwYLkkcQT7UFqoiICIiAiIgIiICIiAiIgIiICIiAiIgIiIItvEwqnqaTLVSiFrXhzXktHeAItd2moJVM4hsHEAXx1jHMGvotJP7Qfb4KwN/VRalp2fWlLvuMI/wBYVDTtHRBkYZUDtLDQ3I04HkvWufmd3wSRcaki2vCyk20Wxv6FSYlTD5uWFgqWjgyTLldIBya5wN+hPjpgxYnFV0ohqSI6yHSCZwsKhgGkMj+TwB3XHjoLoPfZOknq3vbFHn7MA2Fha5sNSfBStmxtaf1NvN8f+5QrYjap+H1OfUxPs2ZnUciP5w1suiKOtZKxskbg5jwHNI4EFBWY2ErHaFrB5vH5XWv2l2UmoKd1RUviDQQ0Na5xc5x4NaMup/IFXNDrqTZo1JPAAa8VzpvS2uOJ1YbESYIzkhAv3ySAX26uNgPADqUGTsfK6vqBBCwi+rnE6MbzcQOPLTqVZUO6YevVE/Ziy/EvKqHB6quwed3cfA8gZmSNu14FyB0cNeR5q0dlN9lPNlZXM+TvOnaNu6EnqfWZ7bjxQbyDdZSj05Zne1jf9K/ONbJ4ZQU0lTPG5zY2370j7uPBrAAQCSbD2qb0lZHKwPie17HC4c0hzT7QufN7u13y6q7CJ16anNtOEkouHP8AEN9Ee08wghYdLUz2jYc0slo4WkkDMe6weV+J6XV/bst35w8yS1BY6d3caWXIYzQmxIGpI18rLR7lNjcjfl87e84WpweTT6Unm7gPC/VW4EH1ERAREQEREBERAREQEREBERB8KwoMXge4tZNE5zSWuaHtJBBsQRfQ3WVUTNY1z3kNa0FzieAAFySuUKw3kecwddxOcX71yTfUAi/iEHWaLlvD9o6uD6GpmYOmdxb903HwVjbNbS43LTtnjZFVRXIIORsgLTYggFvwB4hBbyKrcO3vgtzT0crWg5S+LvsB6G4Fj4XUjw7eXh02nb9mekrXs/vEZfighO/2p+cpY+jHv+8Wj/SqdlU+314qybEGmN7XsbAxoc0hzblz3HUfaCrwvug6B3RTtmwRsbwHBkkkTmnUWLy61ulnhVdvL2Ndhs+gL6SUkwu5s5mInqOXUeSnX8H6qaYKuFx4PY+32m5b/wBxWJj2ARVUD4JnXY4acLtPquGuhBQct09JccfLqPAqx91W1opH/Jpzmgkd3C7hE86c+DHaXHI68yoZj2HS4ZWGKVgflN2k+hNGeYI4XGhtq0+Sy9oMPibHFU0hLqabQBxGeGQDvwvHUcQeYPvCyd8O2GWI0UJyukHzxb6rD6nm7n4ea0e5TYkSTfLZxeOI2gB9Z/OQjo3l4m/JQvZvCX4hWxwl5Gc3fI92oa0a2v6TraAfuXSmH4SyGNrInZGMaGtA4ADhrdB9x/DYahjY542SMJ9F4B9o6HxCqja/chxkw2S3PsJSbeTZOI8ne9XBFE24JeHHlqP3rF2lx6KippKiU92McBxc46NYB1JP58kHLcZrsOlkgzTUr3AiRgcWhwcCL2BynTg4ewqQ7t9kTX1QYQRBFZ0x4acmA9XW91ytPVVNRiFWXuBfPUPAa0crmzGDo1osL9ASea6S2K2aZh9K2Fli70pX/XeQLny5DwCDeRRhoDWgAAWAGgAGgAHIL9oiAiIgIiICIiAiIgIiICIiAiIgju8OUNwysLtLwuaOWrxlaPaSAuZyT09yvrfVXBlA2O9u1la09bN75NufAe9VfgmEsfG/uiZrnAZwSyRpaL2aHC3rXOuvdGqCKZx5eat3d/tnh1DRFnaymTWR7XMPeeQBlYRdoGgGp8SoRimz0bA9zZHMyDRszbFx00z6NDrm2UX9EqNFgKC8Nz7SWVUpdG2OolMjIA9rnM1dfMOWlhYjg0FaXZ/CaSrxmvZ2TZ6YjMHgHLG/QkB4ta7i8acbDoqpaCDdriD1/wC/FbfAdqayiBFNLkaTmLbNLSeFyHA8gglu1WxFPFitPTMc6KCpb3TfMWvu4W73EXDfvFabb7d67DWMkMjZWPcWXDCwtNri+pBvY+5eWFbaltd8srIvlMnq5nZQy3AtABAty6anis/eJvCGIxRwxR9nGDnfmLS4uFwLEcGgE+JvytqGLuerJI6yeOJrHdpASQ95aLxvYQQQ03IDnaeJVw7PY4JzPHPEGSU8gis1znB4LGuDgbCw71vYqK3aVJZitPb9YXRH9tjgPjZXNg8L48ZrI22u6CCax8nRuPvag/W3GyTK6jlz/NvjBkhkPq2FyCT6hA19/Jc3ROc0WvcXvpwva3t0Vzb59tHRsNCxzczrGctvo3iI9OuhPhYc1BsA3f1NVQS1kQ0abxx2OaYM9Mtv7h1LSg19XRy0j4zcAlrZYpGHM0ggEOY8aGx0Pkrx2I2pbXUhJIErHN7Rg8b2eB9U294IVL7LYrFLE6irHhjCc1PO7hTy/Vd/yn8HDla/l54fiE2HVWYaPjOV7Sbh7TYkXGhBGoPkUHSsLoyR3HA9TwVC70tqxW1RihdemgcQ08pHi4c/xA1A8r81Md4e8qN9BEyhf85VMu8370LODwbei8m7fYT0UI3abImvqgHD9His6Y9fqxjxJGvhfwQT/ctsh2bPl07e/ILQA+qw8X+buXhrzVrL8MYGgACwAsAOAA0AWuxjaGnpR8/K1p4hvF58mjVBtEUEdvKjkf2dLTTTuPACzb2521PwWRHjOKyehQRxj/myj8Gm6CZooRJimKji3D2+DpX/AL1oa3ePVwSujlip3OYbHIXluoBFnZtdCgtVFXuD7eVc7S5mHula02Lo32F+neGp8BdZ53iwxm1XBUUx4XkjOX73P3IJmi1eF7RUtR9DMxx+rezvumxWzug+oiICIiAiIgIiIKa344kflNNE39XGZSCAReRxaNDpwjPvUIodo3RjL2bC3MHWb3BmBuHWsWgjkQBbXqtlvMqHT4lUvaCWRlsVwCQMjRe55d7Mokgl7sfEsRDX9iY22BylvpWY1pey5NgTbQcOC9sNpoZowJ8j3gauja1xcbusSWHMNCziABZ1+SifCD7cn+W3/wCwLGQbvEqGnbLK1pkaIwDmFntdctFg02I9Im+Y3DTovk2y8wAcwte0gEa5Xd4Xbo7S58CV4sxKQQHM7OHSABsgEgs1tzo4G3pN1FjxWdTbWPHptv4tNyLcNH5uB1ABABueZQaOpoJI/Tjc0dSDl9juB9i1lZxAUyxraDt2gxyGNzcznCzmF5Optku33kXKhVQe/wDBBkYPV9jVQS8MkrHewPBPwV4bwtohhuIR1QGbtaKSNvQubIx0dz07xKoKoZcLd7R49UYhLEx7nSuaGxRNsAbutoANLk8/AdEGvmndUGWWTM5znZpHEHi8m1zyub2V5btN48EzI6SdrKeVgDI8ukUgAAAbf0HfzTx5Hkt7sJsNFR4f8nmYyR8wzVNxma4kehr6rRoPaearHeLuvkpc09GDJT8XM1MkX+9njxHO/FBmb5dguyc6vpm/Nu1qYwPRcf1oHIHn0OvMqqXEkAXJAFhfkOnkrN2C3ouiaKbEbzU7hkEh7z2Ai1ng/SMt7R4qE7QQU7aqYUZJgDz2RPTw5kXvYnW1kGsgj5XA11J4a8z4LqfYnAoqKjjiiIcCM7pB+sc4Al9+nC3gAubYsFfJSvqY3NeInZZ4xftI2n0ZSObCbi44G3jaxdze23ZltDUu7jj+jvPqk69kTyB1y+Jt0QW1tHUvipJ5IReRkTnM0vqGkg252428FRuzzqSaWWTE53NaG57gnM9xNuIBJIHID8Fc22+MOpKKaWMXe1hyX1ANuJHO3H2KiNi9n5MSfM1szGva3tAHjR5LteHAddDa40QNoKqiOmHPnLr6mcMyW8AAHE+ZC1s+L1T2hr3mRo4NMklvcbhfvF8GdQvDZ42sudHNs5pI6HiPaAsGeocR81lPiT+SDJaRlBLdeY6Hn5rGhrJL2MYa08w43HiBlWKYyfpGPcetwR7BcW9gX3I3kJQeVsyDdUmJvpQDFNLHzs1z7knnlHFSfB9608WkzxOzm2Rjg63TOB+IKhdFNnvmacw0zFpFx1/7L2miNu5a/igk2JY5BW3NPQtjeNc0BkNvNjWBp87XW22a26qKR4ZPnki4Fkl+0aOrSdfYfgoHGxrWNPejna4kytktcHgAwDu2HMFZgx1k9REKueQglrHzO7xa3he5tf8A/HVB0xTTB7GvabtcA5p6hwuD7l6LGoGsbGxsRBY1oa0ggizRYa+QWSgIiICIiAvOeUMa5x4NBcfIC5Xoo3vFruxw2qdexMfZjzlIj/1IKMwqftKl1Rmu4uklfHdzTY5iDnNmWBIJu4cFtqihhkNy4NvwEzA3nYWnYRfSx4u4rX7PU7+92bJGSCzTk1L7695jxZo7v1mg2I8Fs5J2XtJH2Tr6mMmBxuRxa8hkmg077h+CCN1ghJEeZzOzu24+dYSXEk5rNd4Xsb2WN/Fr3fRlso/mOGb+zdZ/wWXikrWyOD4SW37rntMUhHW7AGnzLT5lYnYwu9GRzD0kbmH32C/tyoPlcwsbExwLXBpcQQQQXONgQf5rWn9pYa3MkdUwFt+1a02IGSdotpYt72UX6gLD+UQu0fEWHmYnEW82PuD5At80GCVrb3PxW1rwxovG8uFvWblI8OJB9i1LOKD1cNFZ+5fBacSGtqZGZmnJAwkXBtZ0hHXWw9p6KsCrV3RSRuppmvALmS3F+NnNH5goLhfjUIGj7+SwZNqIgbLTO7O3AKNbV1McELpTy0a3m5x4AIIjvUpaNtQ19IMkkl3Sxt+jHRwHquJ5DTS/nibutlfl9T85cQR6ynhmPqxg9Tz6AeIUbJknl+s95+P5AfgFcOxuSmibEw8NXH6zjxKCcYLspRUwd2FPG0uaWONrlzTxaSeIPRUdvI2Ndh1RmjB+TSG8Trm7DxMZPUcjzA6gq8KWsvwK9MXw2Ktp3wTtzMePa0jVrgeRBsUET3dbUsxSmdS1RBqI22N/1rOGfxPJw9vNRXaDdtV0c3yjDXnunM0NNnN8AeY8CofilDU4RXWBLZInZ4pB6MjeTvEEaEeYXQmxe1EeI0zZmWDh3ZWc2PtqPI8QeYQc5bWY9iMt2VoI6gxNaPeB+BWswPBe3OlTDEeQlflLvK/711rV4ZFKLSRtd5gKN4huzw2Ykupmgnmwlp+BQUd/4FxG3zUccw6wzRn4FwXnNsvibAS6jm05hzSPg5W1LuXoeMb54/sv/eF5Hc831cQrWjoJBb8EFE181TCcsrXsPQr0wmq7R+WSVsYPN5cG+VwDb2q637kad5vJWVL/AD7M/i0rNpNyuHs9MzP83gf4QEFR1eKww5WsDJCL37M5hroO+QAVl4TRzVLS4U0uQ8XCNxb7COOnRXYNgqCmieYKdjX5CGyG73tNuIc+9itZTV9Yx/ZtnY8NYDeSJt9SQPo8v1T04oNFh0cbQXUspikFvo3Fh8nxHQ8eDmqe7O4vK5/Y1IBkDczZGCzZADY3b6jhcXHA3uOYEWx51RMz55lITdrQ9scokBc5rQWv7S4sSCszYilmbVXmmdLaIhujWgd5t7gDvHxPw1QT5ERAREQFpNsNnhX0r4C7JchzXakBzeBLQRmHhdbtEFEYlsHitL9HlqWDhkOY/wBm/UafVN1oKzHZA10FU2SMlpbYg3ALrkhkneve+odbUgWXS1li1+HRTtyTxskb9V7Q4e4hBzLTh7Ranna4f8MnLf8Aq5O67yF/avSmcO2YKiDIQc12XjNmd4ktN2ubZp4Aeat/G90lFNcw56dx+oczPuO5eAIUNrt22JUoPyeRlRHr3R3SQdD8zJdvDTR3NBGMFnhZK5+cOzAjLJ824XcCbP1aTpa92+xZG0M4aGOZG5zCLOEzRI1vADLODc373rnlay1mIw9k7JV0z4X9Wh0ftDH3a79kgeIXnTxlpvT1AB6EmFx8LElrvLMb+KDWYlK06tblBt3bkgdbE6287+a1sRWykhdPKGAjM65JsLdSbDyWxptiJnfrGj9k/vQaElSnd/iTo5ZGt1Dmgu8LE2/ErZYdu3ufnZHu8Gtyj8SVN8H2QbE3LGwNHxPiTzKD5FVki506qr9r8eNVN3T80zRnQ9X+3l4BWztFslPPTOip3NY51gS4Gxb6zbjhfrbw53UdwncvLnaZ6hmUG5YyMm9uWYuFvcUGq2O2acIu2eLOeO4Dyb18z+FlIocJeDcEqwaLZZjALlzvMraw4XG3g0IIFR00w4Erd01NUn0XfBSoUzfqherWgcEFebT7B1GINY2edjchu13Z3cL8RfNwPRZWw+7huGymVlTK8ublcyzGxuHK4sSbHhqFOkQEREBERAREQeFbStlY6N98rhY2JBsfEahRp2xIa4uhqp2E6WfkkFhew1aHW1PNSxEERfsfK4AOrHEXB0iYDdpDgb35EA+xbfBMAZTFzg+SR7hZz5CCbdAGgNaL9AtuiAiIgIiICIiAiIgIiIPGqpmSNLZGte08WuAcD7CobjO6ugnuWRmBx5wmzf7M3b7gFOEQVlgG6CKnmMslQ6TSzW5Q0AdTqblTan2cgZwb71t0QYseHxjg0L2bA0cgvREHwNC+oiAiIgIiICIiAiIgIiICIiAiIgIiICIiAiIgIiICIiAiIgIiICIiAiIgIiICIiAiIgIiICIiAiIgIiICIiAiIgIiI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38" name="AutoShape 38" descr="data:image/jpeg;base64,/9j/4AAQSkZJRgABAQAAAQABAAD/2wCEAAkGBxQTEhUUExQWFhUXGRgaGBgYGBccHRoYGhgcGB0gGRcYHCggHBolHBccITEhJSkrLi4uFx8zODMsNygtLiwBCgoKDg0OGxAQGywkICY0LCwsLCwsLCwsLCwsLCwsLCwsLCwsLCwsLCwsLCwsLCwsLCwsLCwsLCwsLCwsLCwsLP/AABEIAPoAyQMBIgACEQEDEQH/xAAcAAACAwEBAQEAAAAAAAAAAAAEBQIDBgcBAAj/xABGEAACAQIEAwYCCAMHAwIHAQABAhEAAwQSITEFQVEGEyJhcYEykRRCUqGxwdHwBxUjFjNTYnKS4SSi8WSTNENUgrKz0gj/xAAaAQACAwEBAAAAAAAAAAAAAAADBAABAgUG/8QALhEAAgIBBAECBQQBBQAAAAAAAAECEQMEEiExQSJRE3GBodEyYZGxBRVCUsHw/9oADAMBAAIRAxEAPwDmnHpJTTUTy9KEwVtmOuin2q/iIc/FHhkz1n8DQNq88iNeQob9i5GkTAvhsQs3AVBEwdCrDcieU/dXRuzrBLN1QRESGB3G29c0wXDWu2yrllbSM23qOvSa1fAsPcXDrbvsVCqwXJvDNMsWBGm0DrXN1HKtPlAbRnu3JS5fVkOoWGHQj9msvctGQBz5DenHE+FOGdiGdCwAuASsnaSOe2lU2cLcDAmQV57RB0NdDFJKC5Nbjc4cyE10AHXpUy8DKW9P3NC+JQrKSDEk9fUc6vbFyvjtqwiZUR812PtFZlYyidl84FhXYMxktOlsT9ifEW869GNwwxK27t0wDCEkyrFYlViBqdz5VlOP3HdibKDKAC9wEgwvJukelXcKxmHuaXmNi2oGVgMzFh/mMwegAoXwU3uQrKHLNPc7SCwsNcuNeLwBdUAm3t4wumsnX7qxnGspxV3IAFzaBdthtHnRVvg3fYlhbc3rIgd6T8PvzmOVBcStC1iHQScpgTv71vHCMZcd0THFKRO3b1HKnCYd7LR32YEyQZJ15HlzpbhyTGgH4/8AmrL2KCRzY7Ab+3n50XbYz8O+WOcdjncCSAB8KgbfPnS2/bcjUvHmx/4qFt3idvM6R70p4hxIgwGJPl/zWlH2CLbHouvyp+M+zH9av4d2hv2D4LhjoSaQlnY6z716FAGtW432U2mdIw3E7N9bZXNbuEnOTLQ28mNY006U04pw/LZL3VN24V8LMdFXeQDyO9cv4XxDu3EajUEVusPxRHtC6QSLUgq9xmUmNCUJJpDJpNt7emJ5MVddB9ki3aC2ixzFdCgFsiNiRrlJO/lXuLtG0+oFuyy6nKTlPODtHrWK/nrPcu5B3YbRobwFQ08+mkH1rT4XjWHvW3W7mS3JISWGYquzO2m+unTzoU9NSrwCcaG3CMGlu9mt3P6ZBJmJDKhIkcyZ9aJx/DMwbK0MdMwMRsRIPpS7hYw5QHDrlXUjUZi34EDQTULfHTmC3A8k5ZjRdep1MVMW225ILjkmmmCDgsu2IAbOCBmzeHKBBgctetMPpjfZ++hcXjYeJaNACn1pJOoM7daM+lD/AA7v3fpQpuXXZg5jxZ4KkAzJkGd4/GqcJdDZncQI3jcjQV9xVyIIEHxT8qCw5O3IjWfOuvKKaDyQysYx865SYGw1jrtW6OKuiyhzKAwLHSGIOgBG6686xOFuZYAYHYxtqD156dKLxQvFAVe8M7LmtgE+FYIy3D5kHLSsoRcqaoFxY04XcNw3VdWe2rg5AZWdp6k6TTq/gHdSy2XOoBGmsRBk66ULwHjVrDtkzXHUBiBlVXzzDK/LMKvxGMRcz/SSifZIJMaeE883pS0o5XP0rgFKLbLsVbPdbDRajY1QaDUfdX1rEZkhxlEaGCQAftRqPkalbtQsgq3mpn36/OuhvVU+B9Iy3F8NYBZ7txkbQKiicxM/d50kxVokZVMpow01k6bct9q0mN4E2IvKRosFSdDyJ0H51bwzsg0uly5CjKZUgzqDuDtqPnQ3kjB9/QXlJKT5BeyZzWu5LlMzHroDAE9AeZobjGEFrEXACGAMAiYOgk6602xuCWyzDMwXca8hvB1nXkazgvFmLMST5/dUw3KTl4ZrBG5OXguv4sW18+Q86hg/D/Uuaudh+QoHOGfMdQNFHU1c+I11MseXQU1Q02Gtca78RhR99D90k6fP9KHv42TlGw3P5V7Yv5jA+dWZsnigqjU+1Kr14sdK1GD4Ibnpz6n1/SnmH7J241XXrQpZoxDLBJo5ujGad9nONPhrodToRlcEAgrvsfMVoeJ9iQQShg1ieIYN7D5Xq1KORUCyYXFc9Gyw30J2vPl1DZlR/gAYnQQfOflQPajGK6W+6VrYBYG2DKZREMo5SZFJOE4tVaT7+YpvxhkGXI3eIygHYEQY5fW86Fs2y8ibjUhn2MxNuCGJJGwjQEjaOf8AzTS5jHUvlAGVifDrrGojmIIrL8JAt/1LTZwjEsgGoXfU860uAWRLq6L8SypAJYajMOURvS80lN+xlVYZgnW9bYs0kidAfCQNRI2HrS/6Td+yP9woPG2rtjNcs3sqvMldh5ExuaT/AMzufa/7VrHwlPlGqsAx5DgR1Oms7bGq8MRl1M7+EDpzPlVvGSCARuTrp+NCWb8QZI0iRvvrXRa4CyL7TFfFoQZj8K2FgXrGEW7JUNJA3B+yQp0zT71lbNlxmaJA120+6tBxLi4u2EQZLYSPB4vi2kctqVyy5SQKQit3cmYtmJecxI3+sc0851pzc4lnhgSyp4RnAzEf5gJBPKfSkWIu3IWdQAQWB+qTsfbSqsLiwCBl5gz6Vtw3ojVnTMHD2SQNCp5eXSqcRhxlECDAgiQQf9QE1dwZg1gFYIy/uasvKSBHTz/CiKnEOjNX7V4XMy3FDRpIMyNpEQTU8Fg7rFlu34D80b7zMActqJ4yhZ+6OaMqsCgOZTPrt1pb/LSocHOuonPEEzyA5Hek8txuv6FsvbPe1yIgtxuVIJzEyFO/vWeD+E19xXwtlmY0026mKGu3IHlTmKNRQ3jW2CRB7mUefKqw2UT9Y1WniaTUL1yW9KORsmp5fsmtN2Z4aHYZtJ2nSfSlHCMKCwZvhro+H4lZNoW8isvmPw86Dkl4GcON/qHmG4VkWIqzLFIMNxS5aOUMWt/ZYyQPJqdjGLEmkp9jsSrE3oG1c77dW5GfzracR43ZGhYVhu2mMRra5TMt09/yomFS3IFmcdjRkrTQaai9mRF08J18x+dKBWg4bwoXbRfNtuBEiOZBp2bSVs5UuEPeA28IsO7wTlJA9z7nTUVrl4hmS44uStvNntMAVZeRU+nlXL7eCygFmIBOwGunvoZ0pxg+Lqnik5WTKy9IO5HUx99I5cG52mAljvkNxGIZg1i0ggwYInUEMfEeUa1T/L26W/m36UytX1Q94QoRANCPqsAfj2mTt5VR9Os/ZX/cakbSpI1Yh48JCktz/Kk9ldRO00y42ZVRqPFrQWGvkadfu86d8BZBqYhlEQY6/wDBqGdoGaBOvnrzj2rx7uUDUyZDAEQennNB4m9Os6neP0oSx2Y22NeF44pcCzo2nz21oYYNi5ymSTAXST5fd+FLRiSNulfNiyQNBp+/nW1jrotROr9n3/6RSoysgkGNYImCDvqNjRmIzKCxAK/bUDT1UHTflQPAbhOCRyZJtrJMTMRTfBo2Q9CJggSSIEfvastWGfBie0XEQl9creHIGEGJnXSOp/Cgr3ahrgykCJlh4jPl4jpVfa+xlvtlWARsPPfakNhYIM1SxRfLAuKbJ467muGBAnbpNBYi7UrjasapiTR0qDNlzPC+Zq7g2Aa9cVFEkmg7pkxXS/4W8KAbvWHpWMs9kbDYMfxJ14NDw/sSgtAXFmRqKy/HOxyJcBtlwo3UiPkwFdeuXwBrSfF49JiR70lHJKPk6M8CkuUY3s1wO80Bz4RtO5HnU+082hlFdD4fbBUEVlO0FkNfg9Kpu3bMrhUc1Xi6q3wsSNToOXWge1PFReFoDlJ/Kt1juADWVU+fP7q572qtBL+RRAVRtTWNxclSFcymoOxQKaYB1VQxZtSQyjTQaj1pUK0nAHTumW4qZXYS5BzIF+zB2M66cqNN8CVWEHhpey97vACstlJ1ZQJ0A5zpTJsBYTCgIyM7Kruc0kn6yr0IB1FLFwgu2yLMnJqc2mgMmORq/F3bAKyrOFEyIXU679M2tLpvoFYVw7C3DbUIA4k5l8MjfKGkjTSad/Qn/wDT/wDvW6S2rXe2jJbK29z7JHJRuf8AzS3+XenyP60JJNuzPDBeNK5EuxMmQT18zzpZhrZzASAfMjSnHHARaT/V68qWWimxHuKc8BpMlmImQPPb8ajctErKj1AqNy4okAnyqpcQaiRkpKGJ5VGinIy+vLX9mh62jR07s1eJwiAo2QL9WCdNBoae4e6qKFzww+AMCphoJMHeemu1D9jLH/RWdYBXXXqT08qd2+HK1tVZZUakEk7cxzk0Jr2Ls5R27uN3wkiSsyP9R+VILVyTJHpFaH+IGB7m8u+VgSupMCdpNZdSRW49FeSV3nVY50RjUjUc/wBKGuVpGmWYZZYetdn7MWwuHWNK47gbczXVuy2Lz2F6jQ+tJ6vpD2i8l3GOI3A0A+9T4Vwx2IdzPOOVXfyDvs2cmD0mi8HhWsJkN1lywMx8SnQ/FOqnag442huc5dB97tfbQ5Wtsp84j5g1luK8ZF26LictKp4pjmae8RWj6wIikq4jvPhUqBPofSr2vsias0mJ4h4a5JxjFd7ed+ROnoNK1vGL5Fi4c4EACJgkt08hvWHimdPCvUxPWZU2oI+Appg7NxGUqCCVkE9Ooml1tCSANSa6vwjD2mwN4t3bsjAWmKlSUIEDUAkb0eTdqK8iEnSMpwW5fW7nfXPvOxX6wgdQOVH3uHWiLjNcyoGMZYYQRMA7lh0NA4riYYEDw5SYKjeRrI6cqYcU4oLVqyEVCdSzqSZB2DGBLDznalJqe/8AAHluxLxPFFQltLpZFEjQL+G//mo/zA9G/wBwo3iXCblyz38qfrFBowA3IHOs1I6/hRYRTRtUx7x6O6Tpm++DSRnB8gPvp1xq6rAooYQ8gMBOXadNDSJh0miI3JchDWgRtvseh86Cy/LaeXzqaKxnmBB++rTegsBBBO0QPlyq1wUlRXbIkTtrVSnxCeomOlfNUQKuizqnZ3iC/R0RMxATQAW5Ea6htTWo4NiTlbMGBUTE29QRJ0HM1neyuBVsDb8AYsoMxqCDIiOlWniF+2+YLOYBZeSdOr76n1ofKLozH8TZ7y0YIENEkHmOm1Ymtp/EPiAuizoQ65w4Igg6b9dRWPw9ou0KJJ5USPRRcGzpl5g6elDX0g0+t2rdhcrr3hcCXEiAfsTpPmd6W8Qt/CRsRE+fKrN14fZ9wdvFB51t+FXu5YH6p3/Wuf2iQZ6Vt+DYgXbY6il9RHixzSy8HT+B4lXTQ0L2hwlxhKGD5fnWIwWPfDvmWSvNf0p5/akMN/Y8qTSceh5PyJ7uCunRkX1igONY1LKeg0HU044t2kRVJnM0aKOtcv4li2uuWc68hyFMQhKffQvqNRt+ZTicQXYs25+6o1XNWotOo5l2Mezanv1ImV1Ecjy++Kf4PBYgX7gYZATOWdAGJ+CTBgTp5Um4Xh3Ve8GkbE6ajzrop7u6EzkqbmgUsIYETEH4QdRHX1pXLNqXAGb5M/xvgIFuwe8tozlgFWYCgSdtzPIdaN4Zh7SWhbGV3YhmdkByxJXwk6AlY96sxnD0DJdANi3YV5WA0knfMGnXruKTYq4LTobQLBgSGbmCOQ30Mnz0rM5Sn0ZRKzjL97ElFYWlykvlVip0MtlUEieYHSq/5Dhv/rLH+25+lOez2PvWbZARXEEuuUEGRIk6xGbTbelX8xs9bnySpGSiqSL+QJxk5lBmSIAjWkaYhQCCPf8AWmfGHi2Yncc6z++tMKNhGrLbqqCSp0P7NVgGdNa9B2ivbllkMFSDE+xrSIiFWnEGCNJY6nn6ek1BFJOgJjp0p52V4eWuG6WyLaHeFgASomNFJ8R12qyGt7PdoLdvDWrTsysqidDprt1J8qld4tbRkz3XIESBECTME5pDeRE60qxF21ib4FoJYkuTcu3GIczIZi3wkjltSfimHKgXLl225JMqrhiDOUZuhMSBO2pir2ose8ZxNnEMM6hgoOXKYBJ2krvG0V5iLdm0qqbKBX3a1cGnTrB01DTPlWYwt9IUszAljmUDULyIJMEnpUvFcuAIC5mAOZHn5xV8eC7LksXHbu1QuVkwuum5PpHOq8dhlVCGJW4nx23gbxl7sbnQyaFuXDmJ2Plp5Uy4tjTfW2z28rgMGuAAd5JkEqAACBpUNPltxXADYw8xIIkT/wAjyo3CYe5aaVkeY1B9RWg7O4dL9qCqiDoFnw8ueonf3pueDMg0Ej98qUyZabQ5ixJpMQLedtGA9RJqjFWfKnf0Y5tqF4nYIFLqXI21wYTvznbzNfX7ObWfbpUMRbysdN6+7wlQOldFHHl2CxrRVkVQbZG/OisKkmIJ9KsoZLw92YJmA3gFhBI00/WmV3C3FCtiGysqf0ttYmJPtSK2NJDDQ7bGI1PpTi3jS9s95e8AbVCDyWFykDc6jWlcimgbTDsB2hD/ANN8moyh4iROzcvOqsbgAbqrmVQygrlJMmSCAZ3EffFZm2OZHWKvxN4aDURtrqP2atxp8Eo12MFuzh5tkfEo3bMrLrrrABgEbUv/ALTj/P8AJf0pBfxZKhZMaT7fjE0Pn9KkcfuUo+5ouIWTcRlUdOYpQMIVHjtlZGhIia0GJVUbIg0Bk+v6UJxLEAFcwmSfbYUFahue1LgqWROVIVlXC+FdRrsNPMGi+C8LuXi164y5Acrlmg67QI1Hp0qtL6zlPnBkkfKjlvhbT5hMDw5Y1aQAI6RRJTaVFW+ivCY2zYa4qL3iZXGb4SxO07+EEcomoX8C1lQXZRmQP4WBJzciBsdNjtFV2yvfSUhRLERpMabfVBNWWeIPfKYb+kFOVAWRBEEknPupJOp5wJ2piENqvyw0VXaFj3C2lEY67exBloy21ifCiwgmBtLa+ZM1C7ZyZoO0wesdIoBKIXQRbuuV7sE5Sc2WAdRz2miuEhnLWlNoG5HiuQIyyfC5+Enbz0oZzkhkbXyJBGmv515g2YNKzI103qEaaGfC+Ki0rgrBa06ZlCyxYgjPmBBA1GkGKowuNy5Qyh0BUlSW1AMkSDInaRrQF9yBAjeZjXbaeleW0uNtBqMuO7qPk2/YXiSriWthcqXM2UHcGZAnnpI9q6Sbem2hrh3ArzribTPmMOJA+LpoOdd1wZzKJ6UjqY+qx/T5G1tfgz97CZbhIGhoTiltch03rSYvDxSTHYeaWQwzAYzgwgms7ibWRiOR29a6JjcOYrJ8ZwWh6inMWT3Fc2NVaEbpoCemlStmBvHvB+7lXqWHggZToDOhIHry9KpJOxj5fnTQlTXaPXMj0q7DWy0euw61Qhjb3rov8HeDW7+LaVW4gtS2dVOVswByg6dNaqV1wUJ/7LNFod6hNwMVRc2gWN2KganTTpWdu4fKxVtCJ6/ua/SHaDs6i281pba5FbWACoMHwAaTXKsZwRTiAsGAQ5YiS07gmegpdtrwYMLZBUhiJg7HafOtH/aL/wBNY+RrVca7BXcRcSbtm2GWbKBBr4SxDsgGUwJlp3is5/ZQf45/9o//AN1JJPv+y9zXQvLy4NA8dxDKyR9kn5kijbdKuPSbv+lVH5/nSmnjeQVxL1EcI6n4wzSGgAgENy5HSeW9dKxr4Kzwuytkg3WKZ5UZ9TmuCYkRBA151jeyvD2uuiKhJMuNNTl9eQo3tgrWQM0gmdCI19PSm98XPYMqhHxTF95dNu0MqszZVLaKCZCyTy8zVQ4Y9vKbiFQ65lkfEsxI8pFD4HCNcg5eZEgbk/jTq/f+k3AB3doKkDUgQi8yZJY/nTSCS3Pl2JuJMpKhGJ8PiERDdAZMgCNfOjL2OtC2AluGZFDyBAZToyHUmRvMa1RYwJuDQBSqs7szQD0UDbNpAHOg5k6e1S7KaadM8LURgcQ1tg9tirDYjcct/Q1fiMSjWVtljo3hGRZUQd7g3WTtvr5V7xBkLg2zuq5vDlGeIbIPs9PWoUUddJ/fKr8FdVXDFcygzlmJHSRTJzau2SUW3buIEDZn1eBvbUjcxrrzFV8FwKXluKSFcZSjEkCSQoB5AT9blULviipEfOb1kOoDSpnxLrpLCNR1ra9lMZewnefSVvQzhY0aHIzEtrIJUg6b1j8Bw1rl1rXeIoWc7FhlABid/EJjaokMlx1T+pllcwBPhGkiNh59KzKO5UwkZxU1Ln9/f9zt6XkuIGUhlOxH73FCPhprk/Z3jN/DF7qKz2gV70a5fEYWT9VjyNbzA9rkYBhbJB/zD9K5+XC4P9jq6SM9U2sa5Xi0MMRwqeVZrjfAmgmK0X9sF/wT/vH6UJjO1gYECyPd/wBFrCtDn+lan/h91+TknELBR2UTIknyG/LlFCCPPYDWOe8+VOeLOTdusUlS4LMuuWV+HNy05UoG+1dOPR53JGpNezaPEEQYka+4HX8a2f8ACifpF2CR/T5Ej61ZLuhyJIjn1jWD+FbT+FVkviL3cqSy2RpvmOcbydP+KxlTcGkYatcHR74JGsnQ86UXLesmJnr7VqGwN3uCbiBWA11B5/gaRYlRmMAUvihKKqTswr8iHtLgbqm3iLDhNGDMCZiMvnO+1ZH+X4jo/wAv+K7rhOzdlgHbM2dQSCYG3QUw/k1n7Fb+GzXHk/OuGH41TieENcF69JUoyKqQZedJHl+tHYK3mdQBMkCOsnatljsRHd3GGS4oCMhXeD9qY0rnQy7JfMUx8cmc4Tbu2L+GtySU70gRMK4zEaa7/Kgf4o8QuXb1pbkeFPqg8z5+lNu0qtaazik0GbKSYjxCDoDOnU71kO0OOS7fDWxKqY1mGgztuB5TTGDE5Zo5Guaf8hYp7kwzh2KVLFxASCCuTbVpEjfTSdddqVcWxxuOzQoLHZRAHoBtXz2ytxlaFMgTMhQ2oMidII1oNiMxjbYc5866VDUsjkkm3wG4U3LqiyizBzO2pPLU/ZCxGnXnRCYlsK9xbLq+wDhemspOoMk0DbVkkoWXfXUExryqoqSQOZ66feeXnUow78kb9mDvmBXNOo1577wdKNwzIqMHRi7KMpkAIQZmIOYEacqXswgjUmRlM7Dn+/KrrTTE8qsoY38Motq4dSW+puQOZJG2o+E6xBqvEYV0Oo3AMghhDDTxLI16VNcN3mUWVdmCguInxTrEfV2iaNw9h0sjO2WzcuEOkgf1LfJwDmGh30qNmoRcpKKBsJxEJauWjatvnIIdgcyET8JG1H8PsrbTvPpIRmTQJJMMDmRzpDaDTzFD4ThHeEvPd2VuhHOpyBtjHxN00BNC8UwJtMYJa2SclyIDgcwNxvUMtUym5eOXJPhmY8/PrRfBMQRdKL4lIk7CI5gH8KCwuIRSS9vvNNBmKifMr8/aqO6YKLkeGYDf5gJ9jFZkk1TDafUTwTWSHa/99zdKQRyqN2ANqzfBOLZfA58PI9PI+VH8Xxp0t25ZzrC6mAJP4Up8JqVHuof5fBLSvPfXa837fXwLrdy53rd2hYEsTbgmVgjxZYMAGelBXLugAAGs6dfyqCXbvxqWHLMJG42zDqOVRClZBHkf+KdR4KUm237kTdgaaHY+ldI/g/d7u3iLireLsyJ/TWRlUZhOh1lvuFc4K9ZK612n/wDz+x+iYnp3w/8A1j9BUMPoe3uIXHGVkvgGJLiF35+GlrJLnatvx4/0T5lR99YtRLRIkb0KfZlB9vEYgAAWb5EQCGMEeUDave/xH+Bf/wB7Vq+Hf3Vv/SKIoqZR+cMFcKnMN11BHUVo73FbTA51aW1mdY8qy9ttDTC8JtjrBFedkk5KxSMldPoA7W8cV7fc2w0SCc3KNgPOaLfh9hMICjHOmW5mgav+kGPakeJKyfDqN5/SpWuI3Cht6FCAAAPPQTXX+A6iovp38xukD2kClLjAOpbVZEkKRIII08qrxTqzSiZB06UxxeBFi+F8N+MpYLmiSJKHnI2NQt8HvMZFpgJ5jby1plyiu2GjGbVJAD5o1JjWJ686Av3NxWrxHDrzW0R/hthggAAjMcx1G+vWsvirJtPDCfI86inGXCJLHKPLKHYMRpl6xJ99aLJUqNgw8MAHUQfETMTOkCg2fM0mf3oKIsKwymPiOk7EzH41ZkfYHiFzD2QMq93dJkggO6jQoSDKrInYGedLHUkFiDqdzzO+/M0RbS3bvXFxCN4cylEInPt8XQHXnVN8XFRA4IVhnSRoRMSPKRVl+nn7DOzYxUfSwYyAMrkqJy+Dwg6MQBtvFAY3ib3Lao4Vip0cjxxEBS32QNhFSxeJvpbXDu7C2PGLcgqCdZEczVfCLloXVN9M9vUESRE6AkjkDyqGQW1hww+IA9D6TUcThiqoc6kOCYUyVIMQ45GrOJ5e9ud3BTOcpXNlidIzax61K/ggLS3FuK8gZ1GhQmQBrudNxVGrVVXPuChVJ6eQ115aUytFnbvXfIYIBUjMSNDMsCvhn1igrWJEQxaVBNrKF0ckGWO8acqhisSHMxDQM3mR9YmdWPM1CNkvpTZcmY5JmOU7THWKlbDFXyt4QBIJAkTpAO8RNUo6ZWkEt9UzAG2p68x71C9bZTDCDAPsRpVlBF7Ek7KqiFBCjQlRvrzO5rqH8Eu0SWreJsPsB3wjcwMrgewBj1rli4zwBMo3knmegPp+dH9lxfGJS7YUko3oIOhUnzB2rLdK2X+x+iuJ8Xt3bKm2wIZ1jzA1/T0rNXBGoJMx0+6k3BczPsRkGiz4QTPwjkZpljiLYGpB06a+3Klvipqy5wUZUjoHBbk2LfpHyMUXI61zTF8cudxbtp4TLw4Pi3JiOkaH1pb/ADC5/iN9/wCtZy63HidSMuMY/qdGH5UbhrsrHQVPieGyZSvwxHrHXpNB2Wg6c65uSHhnOaK+J4SfEN41815+43pn/DngyYjEsLi5ktpmg7FpCifvNfWjJPSIFbD+GvDwhv3AIzFR8gSR8zR8Goex439B3QvdNRZsLHDrSfDbQegFUY6wkbCj3MUo4jfq0d1mb4laAmuZ9siuYQNfyrovGsRCmuUcexGa51imdOvVYrqHUKFyH25UUthoOkgNl6jMeXvB+VDtvtpR2GtXboFu2rMASwAEkTzPyp0QLUxDW7h70EkDKQdwOUTUxxR8nc94wttlDSMwABnReQB101kmhsYzXCXCELIWASwBC7SdeUxyqtbq92QR4pBBy7jnLTptt5moac5OKi+l/wBnzgScslRzIAq29ix3SoqhTrnYE/1PFK5ht4eUVRbzRK85BjUj19fyqlTrUKrhFlu+QCAfiEHzG9QBHMxp0+6vbzLmkaio3J5iOmkaH8ahTVOi6zjGUZdInNEDeI332qoKDGup5dPevLe40za7R+lfWmXXNOxiI35TPKoXbqi3uPi8S+ETvv5DqaqDGDpPKelSWxKyJJ5gchMTp+9ahmIBGmvL986hHwy/CWc1zLBkkAf8+1dh7NlEtjRfAxOw1Ghg1zXsthi1zvCDAG55k9K2trEqqgOfBMt12G3yiK5+t3SW2JrJFrC2O7WMS2WZFIDGfv8A3FTe/avZjl2Pl7c6VY7j4e0xQnKdCsnQ9PPQ0JZwjmNQsxpJmCNdD8UVy/hzg7UrEN0k+GNsQqqs5Rm5NGsHSPupdn86sv3NIGw0pd3nmPnS/qyttlSk5O2H9obaCyqx4mOnsJOnSKyOaD5itVxU95fDTCICizt5kn2rN8RswZFdTNNPLReSDi1YZhzoK6d2Ew5XDZj9diR6DT8q5p2XwjYi8lkczr5LuT7Cu1pbW2iougUAAeQEUKGOpNjv+PxepzBMddgVnMdid6P4riazuKemEjrNiPtDivCfeufYyCCYGb3nf9itd2izNCLqWMAUv4/wPu8MjjcEB/8A7tR99NYWk69znarJ61Eyc0Tcm20KxmBJEjWJiRuKHjWpECTG3L0pwCF3EQANbunMApYGQcx3CxvHXzqvChyrqoERmY9AOmv4V9eUEiBlEeZk9YO00VZxVy2VZQo0AHhUzGuoI1Ou5qiAALLoNKsvqC0BgFiecAkSRqJ3r3EBpJYak6+u5/8AFVswKqNZEztGtQl8UQtzuOWu018WJMnU0biLttm8KlECwI+Inq+sHXfyihlQyNJJ2HX2qEPrTMkGNDyMwflXgggg/ETp5COv5VcbkIVjUnUkarlOmU7jcyKhcsZRr8XTQ6HWZFQv5FYuMkQwEdN951PtTDhHdswFwAk7Ezv50uewYzRoefpUsLicsiJkAb6iDOlU1aokXTs6JhrYAAAiqMTbJuagm2oHeQYMT9U9aH7MYo3LYzbjT1GwNaGzw7EMC9pCyTBgrpzJhjrpyrnzTjLqxrPNPFaVh3AcBYdFFy0tvwmQJkNMgsZM6aHQV5duW1DZBBAg84aeR/TrQGKxN/vBbyFNTlLiJB31IgzBA+VfXWhVERIzH1Jn86Q1WV7aOVN+aKLLnkpbX4RuRzon6LZ+xc/2/wDFVcLxGQsRuIJOkhSYkTzkii/pK/4137v0oeKCoHFcAXHyAGA2VD/3afOs9eu5hoZI0Ipxxm54HY/XZR7E0b2f7OLmYP4s+g01APrzqYppY90u7/H5C8z5fbHn8KeEhUfEsNW8CH/KD4o99PatRxfFRROCw62LKW10CKAP35mkXF78zT66O1hh8OCiKMXicxqi4sCTUltCaF4liQBFaSCNim1DXuUgadY5xT6/gBcsvbP1lI9+X31z7+ZZMUr8lInzHP7q6hbcAZuUSPfaiRSjcjhap3lcjhV63DMPskg+xipKsnwjlr7b1o+3HBO5xAcfBd8R/wAr8xHST95rPWbjWyGUgMPKY9QadjLckw8fUrJYm/mgCMqjKugBInTNG7edFcLuWlf+qpuIQASNGTXUqDoTExNB4bLm8fw7kaifIEbGpXLiAtlBymcoJ1HTXyrRaCMSzG2fAe7LHKx569eZ60PfK+HKpXTxTtmk/D5RFfZjlUXC+QSVHLXfKDoJI1quZABPpUSNOTl+rxwixQrOoEINASSYnmdBIFeYi/4gVULEDwzuvPXWTvVmJs92uVhFwHUb6R1BjeqO5MBjEGRvrp1HLerMtFgtFpgy2rHbbc+9VWiARmErOoHMV6Eo8YVEvFHuIVg+NQWElZAgwd9D01qi7Ta8FWJvr/8ALGVWWGXePEeZ56DUUMiqfI9eVeKRIB0E6x05xXzCZyglROscp5x7fOrKNJ2SsFLt2eUKSNQSDyPPT8a6r2H4gq3TaufBcMCdg+wPvt8q5f2Tcd3A3BM1rrB0pHJNrJY7GCeJI6LiLACYi8CGWSE1+qoyjQ7+PN6zXNeIv462fFu0CXMDatqAGHhYARGXaPXesUihry5tiwn0Gp/CuZrZrLmUV7fdnM1PM6BMTwy5qCQsxI12GonTzr7+z137a/7mrR4vgv01yRfyEEwE5pAiQDuDpNT/ALJD/HeutDFigqNrHSFt2xbAD3CMqHMJ2zRufTU1qOyNtbgN4GV2U9Y3P5Vhe0uGe81jDJ8V25HoBqSfITPtXVMFhVsWUtoIVFAHtXE0uDdCOST96QXR4re5+CviGIiszjbsmmfEr1Z7GXwK6FHTZDE34rK9oeJZVIG5ozinEIBmsreYuZbc/hRFx2K58yguOxdnkya6n2PxvfYe0DqVJDei7f8AbXKXWCR0rd/wyxH9+vkpH3iiTjuOVkXFlv8AEm6pVFLAElp0kgCCI15muemROYSWG58+Y861Xby2RiQ5MjKoA6amfwrP2cOGJLOEg7NO37j501j/AEjMYuMVf7fcrwVrM2UIGZvh8WXWDzPz9qoNv39KniEAcqGDgEgMJhgDuJ5HeiMNdUDK6SpMlljOIB0Vm0AmOVELssbGgWO7UEMSc5gRkgaBpnU6kaDagr2HKkZo1UMNRsdpjbbar7VtMrFmbNsqgDU9Sem+m9UZTUKK8tEWcUVRkhSrxMgEiDPhbdd9etX4jCHukuEoJ0Cg+IjXxHlEiN+lCMGiCNAZ+dQvhPglcRrZUgifCwKkGDuNeoqTF71ws7As51ZiBJOk1ZgbUhsy/wBMDUxsdwFOwY/hNDYm+rMxCBZOgGwEba+lUaaCLpyp3QVS2YhnBmRIgActeYoQErKmehEx0OvXUTVuFUuVtzAnSBOp9NTNe4jCOhhwR57g9YbYxz6VDPFDLgWMyEBoAbatthb01zhhEHLlkTzgjqK1fAcWVPdXJVxEA6GDtS+fHfqQzgy16X9DSk0FiHiTRamvhhUYeJjI1Ag/jpXOWDdmUv5MajD61Ml2P4sv/UORBQAAkgSfITy3rz+fv1Pzqb8GFuw5EKWGw3MmCZBPXrS76KelOu22gGq2x2bX2rf8s2nZTCpcIxI10KoSOROp19I9qdY7ERVfZ1QMJYgR/TT/APGhOKHSlMeNY1tXSOnhgoQSQl4lit6zmNxVH8RO9Zzix/pt6GixVmpcKxHjMb3jmDopj3619SnA/F7U1XnW8qp0cXK3KVsAxnxVqP4dAm+6j6yge+YVmeIbitR/DX+/b/SfwNa/2ozVoH7fWx9IIBBIQTrvJMRSvGjv7n9IFstuSzZQzBQMxYzBjYeQFMu2w/rfv7KUiH92f9Sfg1ORXAc9uYYKiuW1Y6LG6jQmZMGdII86Nt2bNz4FdYDs0srf6AJjTeTSqm1xQLWFIGpLgnqO8Gh6irZqLincla/gK4TwZGTPdDsro3d92R/eBgvjnUICQCYjxUv4tw1rD5HB2BUkRmBG4EnSZHtRPFzkv4lU8KwywugykiRA5eVLDcLRmJMAASZ0A0GvIVZk+FluhjTXlrtrRHFL91mVb4OZABDLlOXlOkn1NFXXP0bc7D7jS/H32dyzsWMDViSdhzNUnbD5cShGLXlX/f4D+H27RW67hsgHgRWiXIIUyZmOnOlGEtW5Iull1A0Weevy6U7T/wCDB55vzFK8eJg8yWk8ztuapPsLqsKxbK8xTf1sqe+SqpoVQtlMQYJnU7nXrtV2Izd2mZmOugOwEDUeZoex8Q9RRfFrhJtySf6SDU8patCia8gloAkZjAmCYJj2/KrbF45wc2s/EevImagx8A9T+FG8ZEdxHOytQj4NdwjHd4gbnsw6Gr8dwi3iSmcssHRlifv5Uo4R/eN527ZPrrr61obO1ITWyfA/D14+S5uHG0mVGYpmUeLcwMx+8/dUe7o++xNtZPP8qEirhLcrENenDNt9kv6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40" name="AutoShape 40" descr="data:image/jpeg;base64,/9j/4AAQSkZJRgABAQAAAQABAAD/2wCEAAkGBxQTEhUUExQWFhUXGRgaGBgYGBccHRoYGhgcGB0gGRcYHCggHBolHBccITEhJSkrLi4uFx8zODMsNygtLiwBCgoKDg0OGxAQGywkICY0LCwsLCwsLCwsLCwsLCwsLCwsLCwsLCwsLCwsLCwsLCwsLCwsLCwsLCwsLCwsLCwsLP/AABEIAPoAyQMBIgACEQEDEQH/xAAcAAACAwEBAQEAAAAAAAAAAAAEBQIDBgcBAAj/xABGEAACAQIEAwYCCAMHAwIHAQABAhEAAwQSITEFQVEGEyJhcYEykRRCUqGxwdHwBxUjFjNTYnKS4SSi8WSTNENUgrKz0gj/xAAaAQACAwEBAAAAAAAAAAAAAAADBAABAgUG/8QALhEAAgIBBAECBQQBBQAAAAAAAAECEQMEEiExQSJRE3GBodEyYZGxBRVCUsHw/9oADAMBAAIRAxEAPwDmnHpJTTUTy9KEwVtmOuin2q/iIc/FHhkz1n8DQNq88iNeQob9i5GkTAvhsQs3AVBEwdCrDcieU/dXRuzrBLN1QRESGB3G29c0wXDWu2yrllbSM23qOvSa1fAsPcXDrbvsVCqwXJvDNMsWBGm0DrXN1HKtPlAbRnu3JS5fVkOoWGHQj9msvctGQBz5DenHE+FOGdiGdCwAuASsnaSOe2lU2cLcDAmQV57RB0NdDFJKC5Nbjc4cyE10AHXpUy8DKW9P3NC+JQrKSDEk9fUc6vbFyvjtqwiZUR812PtFZlYyidl84FhXYMxktOlsT9ifEW869GNwwxK27t0wDCEkyrFYlViBqdz5VlOP3HdibKDKAC9wEgwvJukelXcKxmHuaXmNi2oGVgMzFh/mMwegAoXwU3uQrKHLNPc7SCwsNcuNeLwBdUAm3t4wumsnX7qxnGspxV3IAFzaBdthtHnRVvg3fYlhbc3rIgd6T8PvzmOVBcStC1iHQScpgTv71vHCMZcd0THFKRO3b1HKnCYd7LR32YEyQZJ15HlzpbhyTGgH4/8AmrL2KCRzY7Ab+3n50XbYz8O+WOcdjncCSAB8KgbfPnS2/bcjUvHmx/4qFt3idvM6R70p4hxIgwGJPl/zWlH2CLbHouvyp+M+zH9av4d2hv2D4LhjoSaQlnY6z716FAGtW432U2mdIw3E7N9bZXNbuEnOTLQ28mNY006U04pw/LZL3VN24V8LMdFXeQDyO9cv4XxDu3EajUEVusPxRHtC6QSLUgq9xmUmNCUJJpDJpNt7emJ5MVddB9ki3aC2ixzFdCgFsiNiRrlJO/lXuLtG0+oFuyy6nKTlPODtHrWK/nrPcu5B3YbRobwFQ08+mkH1rT4XjWHvW3W7mS3JISWGYquzO2m+unTzoU9NSrwCcaG3CMGlu9mt3P6ZBJmJDKhIkcyZ9aJx/DMwbK0MdMwMRsRIPpS7hYw5QHDrlXUjUZi34EDQTULfHTmC3A8k5ZjRdep1MVMW225ILjkmmmCDgsu2IAbOCBmzeHKBBgctetMPpjfZ++hcXjYeJaNACn1pJOoM7daM+lD/AA7v3fpQpuXXZg5jxZ4KkAzJkGd4/GqcJdDZncQI3jcjQV9xVyIIEHxT8qCw5O3IjWfOuvKKaDyQysYx865SYGw1jrtW6OKuiyhzKAwLHSGIOgBG6686xOFuZYAYHYxtqD156dKLxQvFAVe8M7LmtgE+FYIy3D5kHLSsoRcqaoFxY04XcNw3VdWe2rg5AZWdp6k6TTq/gHdSy2XOoBGmsRBk66ULwHjVrDtkzXHUBiBlVXzzDK/LMKvxGMRcz/SSifZIJMaeE883pS0o5XP0rgFKLbLsVbPdbDRajY1QaDUfdX1rEZkhxlEaGCQAftRqPkalbtQsgq3mpn36/OuhvVU+B9Iy3F8NYBZ7txkbQKiicxM/d50kxVokZVMpow01k6bct9q0mN4E2IvKRosFSdDyJ0H51bwzsg0uly5CjKZUgzqDuDtqPnQ3kjB9/QXlJKT5BeyZzWu5LlMzHroDAE9AeZobjGEFrEXACGAMAiYOgk6602xuCWyzDMwXca8hvB1nXkazgvFmLMST5/dUw3KTl4ZrBG5OXguv4sW18+Q86hg/D/Uuaudh+QoHOGfMdQNFHU1c+I11MseXQU1Q02Gtca78RhR99D90k6fP9KHv42TlGw3P5V7Yv5jA+dWZsnigqjU+1Kr14sdK1GD4Ibnpz6n1/SnmH7J241XXrQpZoxDLBJo5ujGad9nONPhrodToRlcEAgrvsfMVoeJ9iQQShg1ieIYN7D5Xq1KORUCyYXFc9Gyw30J2vPl1DZlR/gAYnQQfOflQPajGK6W+6VrYBYG2DKZREMo5SZFJOE4tVaT7+YpvxhkGXI3eIygHYEQY5fW86Fs2y8ibjUhn2MxNuCGJJGwjQEjaOf8AzTS5jHUvlAGVifDrrGojmIIrL8JAt/1LTZwjEsgGoXfU860uAWRLq6L8SypAJYajMOURvS80lN+xlVYZgnW9bYs0kidAfCQNRI2HrS/6Td+yP9woPG2rtjNcs3sqvMldh5ExuaT/AMzufa/7VrHwlPlGqsAx5DgR1Oms7bGq8MRl1M7+EDpzPlVvGSCARuTrp+NCWb8QZI0iRvvrXRa4CyL7TFfFoQZj8K2FgXrGEW7JUNJA3B+yQp0zT71lbNlxmaJA120+6tBxLi4u2EQZLYSPB4vi2kctqVyy5SQKQit3cmYtmJecxI3+sc0851pzc4lnhgSyp4RnAzEf5gJBPKfSkWIu3IWdQAQWB+qTsfbSqsLiwCBl5gz6Vtw3ojVnTMHD2SQNCp5eXSqcRhxlECDAgiQQf9QE1dwZg1gFYIy/uasvKSBHTz/CiKnEOjNX7V4XMy3FDRpIMyNpEQTU8Fg7rFlu34D80b7zMActqJ4yhZ+6OaMqsCgOZTPrt1pb/LSocHOuonPEEzyA5Hek8txuv6FsvbPe1yIgtxuVIJzEyFO/vWeD+E19xXwtlmY0026mKGu3IHlTmKNRQ3jW2CRB7mUefKqw2UT9Y1WniaTUL1yW9KORsmp5fsmtN2Z4aHYZtJ2nSfSlHCMKCwZvhro+H4lZNoW8isvmPw86Dkl4GcON/qHmG4VkWIqzLFIMNxS5aOUMWt/ZYyQPJqdjGLEmkp9jsSrE3oG1c77dW5GfzracR43ZGhYVhu2mMRra5TMt09/yomFS3IFmcdjRkrTQaai9mRF08J18x+dKBWg4bwoXbRfNtuBEiOZBp2bSVs5UuEPeA28IsO7wTlJA9z7nTUVrl4hmS44uStvNntMAVZeRU+nlXL7eCygFmIBOwGunvoZ0pxg+Lqnik5WTKy9IO5HUx99I5cG52mAljvkNxGIZg1i0ggwYInUEMfEeUa1T/L26W/m36UytX1Q94QoRANCPqsAfj2mTt5VR9Os/ZX/cakbSpI1Yh48JCktz/Kk9ldRO00y42ZVRqPFrQWGvkadfu86d8BZBqYhlEQY6/wDBqGdoGaBOvnrzj2rx7uUDUyZDAEQennNB4m9Os6neP0oSx2Y22NeF44pcCzo2nz21oYYNi5ymSTAXST5fd+FLRiSNulfNiyQNBp+/nW1jrotROr9n3/6RSoysgkGNYImCDvqNjRmIzKCxAK/bUDT1UHTflQPAbhOCRyZJtrJMTMRTfBo2Q9CJggSSIEfvastWGfBie0XEQl9creHIGEGJnXSOp/Cgr3ahrgykCJlh4jPl4jpVfa+xlvtlWARsPPfakNhYIM1SxRfLAuKbJ467muGBAnbpNBYi7UrjasapiTR0qDNlzPC+Zq7g2Aa9cVFEkmg7pkxXS/4W8KAbvWHpWMs9kbDYMfxJ14NDw/sSgtAXFmRqKy/HOxyJcBtlwo3UiPkwFdeuXwBrSfF49JiR70lHJKPk6M8CkuUY3s1wO80Bz4RtO5HnU+082hlFdD4fbBUEVlO0FkNfg9Kpu3bMrhUc1Xi6q3wsSNToOXWge1PFReFoDlJ/Kt1juADWVU+fP7q572qtBL+RRAVRtTWNxclSFcymoOxQKaYB1VQxZtSQyjTQaj1pUK0nAHTumW4qZXYS5BzIF+zB2M66cqNN8CVWEHhpey97vACstlJ1ZQJ0A5zpTJsBYTCgIyM7Kruc0kn6yr0IB1FLFwgu2yLMnJqc2mgMmORq/F3bAKyrOFEyIXU679M2tLpvoFYVw7C3DbUIA4k5l8MjfKGkjTSad/Qn/wDT/wDvW6S2rXe2jJbK29z7JHJRuf8AzS3+XenyP60JJNuzPDBeNK5EuxMmQT18zzpZhrZzASAfMjSnHHARaT/V68qWWimxHuKc8BpMlmImQPPb8ajctErKj1AqNy4okAnyqpcQaiRkpKGJ5VGinIy+vLX9mh62jR07s1eJwiAo2QL9WCdNBoae4e6qKFzww+AMCphoJMHeemu1D9jLH/RWdYBXXXqT08qd2+HK1tVZZUakEk7cxzk0Jr2Ls5R27uN3wkiSsyP9R+VILVyTJHpFaH+IGB7m8u+VgSupMCdpNZdSRW49FeSV3nVY50RjUjUc/wBKGuVpGmWYZZYetdn7MWwuHWNK47gbczXVuy2Lz2F6jQ+tJ6vpD2i8l3GOI3A0A+9T4Vwx2IdzPOOVXfyDvs2cmD0mi8HhWsJkN1lywMx8SnQ/FOqnag442huc5dB97tfbQ5Wtsp84j5g1luK8ZF26LictKp4pjmae8RWj6wIikq4jvPhUqBPofSr2vsias0mJ4h4a5JxjFd7ed+ROnoNK1vGL5Fi4c4EACJgkt08hvWHimdPCvUxPWZU2oI+Appg7NxGUqCCVkE9Ooml1tCSANSa6vwjD2mwN4t3bsjAWmKlSUIEDUAkb0eTdqK8iEnSMpwW5fW7nfXPvOxX6wgdQOVH3uHWiLjNcyoGMZYYQRMA7lh0NA4riYYEDw5SYKjeRrI6cqYcU4oLVqyEVCdSzqSZB2DGBLDznalJqe/8AAHluxLxPFFQltLpZFEjQL+G//mo/zA9G/wBwo3iXCblyz38qfrFBowA3IHOs1I6/hRYRTRtUx7x6O6Tpm++DSRnB8gPvp1xq6rAooYQ8gMBOXadNDSJh0miI3JchDWgRtvseh86Cy/LaeXzqaKxnmBB++rTegsBBBO0QPlyq1wUlRXbIkTtrVSnxCeomOlfNUQKuizqnZ3iC/R0RMxATQAW5Ea6htTWo4NiTlbMGBUTE29QRJ0HM1neyuBVsDb8AYsoMxqCDIiOlWniF+2+YLOYBZeSdOr76n1ofKLozH8TZ7y0YIENEkHmOm1Ymtp/EPiAuizoQ65w4Igg6b9dRWPw9ou0KJJ5USPRRcGzpl5g6elDX0g0+t2rdhcrr3hcCXEiAfsTpPmd6W8Qt/CRsRE+fKrN14fZ9wdvFB51t+FXu5YH6p3/Wuf2iQZ6Vt+DYgXbY6il9RHixzSy8HT+B4lXTQ0L2hwlxhKGD5fnWIwWPfDvmWSvNf0p5/akMN/Y8qTSceh5PyJ7uCunRkX1igONY1LKeg0HU044t2kRVJnM0aKOtcv4li2uuWc68hyFMQhKffQvqNRt+ZTicQXYs25+6o1XNWotOo5l2Mezanv1ImV1Ecjy++Kf4PBYgX7gYZATOWdAGJ+CTBgTp5Um4Xh3Ve8GkbE6ajzrop7u6EzkqbmgUsIYETEH4QdRHX1pXLNqXAGb5M/xvgIFuwe8tozlgFWYCgSdtzPIdaN4Zh7SWhbGV3YhmdkByxJXwk6AlY96sxnD0DJdANi3YV5WA0knfMGnXruKTYq4LTobQLBgSGbmCOQ30Mnz0rM5Sn0ZRKzjL97ElFYWlykvlVip0MtlUEieYHSq/5Dhv/rLH+25+lOez2PvWbZARXEEuuUEGRIk6xGbTbelX8xs9bnySpGSiqSL+QJxk5lBmSIAjWkaYhQCCPf8AWmfGHi2Yncc6z++tMKNhGrLbqqCSp0P7NVgGdNa9B2ivbllkMFSDE+xrSIiFWnEGCNJY6nn6ek1BFJOgJjp0p52V4eWuG6WyLaHeFgASomNFJ8R12qyGt7PdoLdvDWrTsysqidDprt1J8qld4tbRkz3XIESBECTME5pDeRE60qxF21ib4FoJYkuTcu3GIczIZi3wkjltSfimHKgXLl225JMqrhiDOUZuhMSBO2pir2ose8ZxNnEMM6hgoOXKYBJ2krvG0V5iLdm0qqbKBX3a1cGnTrB01DTPlWYwt9IUszAljmUDULyIJMEnpUvFcuAIC5mAOZHn5xV8eC7LksXHbu1QuVkwuum5PpHOq8dhlVCGJW4nx23gbxl7sbnQyaFuXDmJ2Plp5Uy4tjTfW2z28rgMGuAAd5JkEqAACBpUNPltxXADYw8xIIkT/wAjyo3CYe5aaVkeY1B9RWg7O4dL9qCqiDoFnw8ueonf3pueDMg0Ej98qUyZabQ5ixJpMQLedtGA9RJqjFWfKnf0Y5tqF4nYIFLqXI21wYTvznbzNfX7ObWfbpUMRbysdN6+7wlQOldFHHl2CxrRVkVQbZG/OisKkmIJ9KsoZLw92YJmA3gFhBI00/WmV3C3FCtiGysqf0ttYmJPtSK2NJDDQ7bGI1PpTi3jS9s95e8AbVCDyWFykDc6jWlcimgbTDsB2hD/ANN8moyh4iROzcvOqsbgAbqrmVQygrlJMmSCAZ3EffFZm2OZHWKvxN4aDURtrqP2atxp8Eo12MFuzh5tkfEo3bMrLrrrABgEbUv/ALTj/P8AJf0pBfxZKhZMaT7fjE0Pn9KkcfuUo+5ouIWTcRlUdOYpQMIVHjtlZGhIia0GJVUbIg0Bk+v6UJxLEAFcwmSfbYUFahue1LgqWROVIVlXC+FdRrsNPMGi+C8LuXi164y5Acrlmg67QI1Hp0qtL6zlPnBkkfKjlvhbT5hMDw5Y1aQAI6RRJTaVFW+ivCY2zYa4qL3iZXGb4SxO07+EEcomoX8C1lQXZRmQP4WBJzciBsdNjtFV2yvfSUhRLERpMabfVBNWWeIPfKYb+kFOVAWRBEEknPupJOp5wJ2piENqvyw0VXaFj3C2lEY67exBloy21ifCiwgmBtLa+ZM1C7ZyZoO0wesdIoBKIXQRbuuV7sE5Sc2WAdRz2miuEhnLWlNoG5HiuQIyyfC5+Enbz0oZzkhkbXyJBGmv515g2YNKzI103qEaaGfC+Ki0rgrBa06ZlCyxYgjPmBBA1GkGKowuNy5Qyh0BUlSW1AMkSDInaRrQF9yBAjeZjXbaeleW0uNtBqMuO7qPk2/YXiSriWthcqXM2UHcGZAnnpI9q6Sbem2hrh3ArzribTPmMOJA+LpoOdd1wZzKJ6UjqY+qx/T5G1tfgz97CZbhIGhoTiltch03rSYvDxSTHYeaWQwzAYzgwgms7ibWRiOR29a6JjcOYrJ8ZwWh6inMWT3Fc2NVaEbpoCemlStmBvHvB+7lXqWHggZToDOhIHry9KpJOxj5fnTQlTXaPXMj0q7DWy0euw61Qhjb3rov8HeDW7+LaVW4gtS2dVOVswByg6dNaqV1wUJ/7LNFod6hNwMVRc2gWN2KganTTpWdu4fKxVtCJ6/ua/SHaDs6i281pba5FbWACoMHwAaTXKsZwRTiAsGAQ5YiS07gmegpdtrwYMLZBUhiJg7HafOtH/aL/wBNY+RrVca7BXcRcSbtm2GWbKBBr4SxDsgGUwJlp3is5/ZQf45/9o//AN1JJPv+y9zXQvLy4NA8dxDKyR9kn5kijbdKuPSbv+lVH5/nSmnjeQVxL1EcI6n4wzSGgAgENy5HSeW9dKxr4Kzwuytkg3WKZ5UZ9TmuCYkRBA151jeyvD2uuiKhJMuNNTl9eQo3tgrWQM0gmdCI19PSm98XPYMqhHxTF95dNu0MqszZVLaKCZCyTy8zVQ4Y9vKbiFQ65lkfEsxI8pFD4HCNcg5eZEgbk/jTq/f+k3AB3doKkDUgQi8yZJY/nTSCS3Pl2JuJMpKhGJ8PiERDdAZMgCNfOjL2OtC2AluGZFDyBAZToyHUmRvMa1RYwJuDQBSqs7szQD0UDbNpAHOg5k6e1S7KaadM8LURgcQ1tg9tirDYjcct/Q1fiMSjWVtljo3hGRZUQd7g3WTtvr5V7xBkLg2zuq5vDlGeIbIPs9PWoUUddJ/fKr8FdVXDFcygzlmJHSRTJzau2SUW3buIEDZn1eBvbUjcxrrzFV8FwKXluKSFcZSjEkCSQoB5AT9blULviipEfOb1kOoDSpnxLrpLCNR1ra9lMZewnefSVvQzhY0aHIzEtrIJUg6b1j8Bw1rl1rXeIoWc7FhlABid/EJjaokMlx1T+pllcwBPhGkiNh59KzKO5UwkZxU1Ln9/f9zt6XkuIGUhlOxH73FCPhprk/Z3jN/DF7qKz2gV70a5fEYWT9VjyNbzA9rkYBhbJB/zD9K5+XC4P9jq6SM9U2sa5Xi0MMRwqeVZrjfAmgmK0X9sF/wT/vH6UJjO1gYECyPd/wBFrCtDn+lan/h91+TknELBR2UTIknyG/LlFCCPPYDWOe8+VOeLOTdusUlS4LMuuWV+HNy05UoG+1dOPR53JGpNezaPEEQYka+4HX8a2f8ACifpF2CR/T5Ej61ZLuhyJIjn1jWD+FbT+FVkviL3cqSy2RpvmOcbydP+KxlTcGkYatcHR74JGsnQ86UXLesmJnr7VqGwN3uCbiBWA11B5/gaRYlRmMAUvihKKqTswr8iHtLgbqm3iLDhNGDMCZiMvnO+1ZH+X4jo/wAv+K7rhOzdlgHbM2dQSCYG3QUw/k1n7Fb+GzXHk/OuGH41TieENcF69JUoyKqQZedJHl+tHYK3mdQBMkCOsnatljsRHd3GGS4oCMhXeD9qY0rnQy7JfMUx8cmc4Tbu2L+GtySU70gRMK4zEaa7/Kgf4o8QuXb1pbkeFPqg8z5+lNu0qtaazik0GbKSYjxCDoDOnU71kO0OOS7fDWxKqY1mGgztuB5TTGDE5Zo5Guaf8hYp7kwzh2KVLFxASCCuTbVpEjfTSdddqVcWxxuOzQoLHZRAHoBtXz2ytxlaFMgTMhQ2oMidII1oNiMxjbYc5866VDUsjkkm3wG4U3LqiyizBzO2pPLU/ZCxGnXnRCYlsK9xbLq+wDhemspOoMk0DbVkkoWXfXUExryqoqSQOZ66feeXnUow78kb9mDvmBXNOo1577wdKNwzIqMHRi7KMpkAIQZmIOYEacqXswgjUmRlM7Dn+/KrrTTE8qsoY38Motq4dSW+puQOZJG2o+E6xBqvEYV0Oo3AMghhDDTxLI16VNcN3mUWVdmCguInxTrEfV2iaNw9h0sjO2WzcuEOkgf1LfJwDmGh30qNmoRcpKKBsJxEJauWjatvnIIdgcyET8JG1H8PsrbTvPpIRmTQJJMMDmRzpDaDTzFD4ThHeEvPd2VuhHOpyBtjHxN00BNC8UwJtMYJa2SclyIDgcwNxvUMtUym5eOXJPhmY8/PrRfBMQRdKL4lIk7CI5gH8KCwuIRSS9vvNNBmKifMr8/aqO6YKLkeGYDf5gJ9jFZkk1TDafUTwTWSHa/99zdKQRyqN2ANqzfBOLZfA58PI9PI+VH8Xxp0t25ZzrC6mAJP4Up8JqVHuof5fBLSvPfXa837fXwLrdy53rd2hYEsTbgmVgjxZYMAGelBXLugAAGs6dfyqCXbvxqWHLMJG42zDqOVRClZBHkf+KdR4KUm237kTdgaaHY+ldI/g/d7u3iLireLsyJ/TWRlUZhOh1lvuFc4K9ZK612n/wDz+x+iYnp3w/8A1j9BUMPoe3uIXHGVkvgGJLiF35+GlrJLnatvx4/0T5lR99YtRLRIkb0KfZlB9vEYgAAWb5EQCGMEeUDave/xH+Bf/wB7Vq+Hf3Vv/SKIoqZR+cMFcKnMN11BHUVo73FbTA51aW1mdY8qy9ttDTC8JtjrBFedkk5KxSMldPoA7W8cV7fc2w0SCc3KNgPOaLfh9hMICjHOmW5mgav+kGPakeJKyfDqN5/SpWuI3Cht6FCAAAPPQTXX+A6iovp38xukD2kClLjAOpbVZEkKRIII08qrxTqzSiZB06UxxeBFi+F8N+MpYLmiSJKHnI2NQt8HvMZFpgJ5jby1plyiu2GjGbVJAD5o1JjWJ686Av3NxWrxHDrzW0R/hthggAAjMcx1G+vWsvirJtPDCfI86inGXCJLHKPLKHYMRpl6xJ99aLJUqNgw8MAHUQfETMTOkCg2fM0mf3oKIsKwymPiOk7EzH41ZkfYHiFzD2QMq93dJkggO6jQoSDKrInYGedLHUkFiDqdzzO+/M0RbS3bvXFxCN4cylEInPt8XQHXnVN8XFRA4IVhnSRoRMSPKRVl+nn7DOzYxUfSwYyAMrkqJy+Dwg6MQBtvFAY3ib3Lao4Vip0cjxxEBS32QNhFSxeJvpbXDu7C2PGLcgqCdZEczVfCLloXVN9M9vUESRE6AkjkDyqGQW1hww+IA9D6TUcThiqoc6kOCYUyVIMQ45GrOJ5e9ud3BTOcpXNlidIzax61K/ggLS3FuK8gZ1GhQmQBrudNxVGrVVXPuChVJ6eQ115aUytFnbvXfIYIBUjMSNDMsCvhn1igrWJEQxaVBNrKF0ckGWO8acqhisSHMxDQM3mR9YmdWPM1CNkvpTZcmY5JmOU7THWKlbDFXyt4QBIJAkTpAO8RNUo6ZWkEt9UzAG2p68x71C9bZTDCDAPsRpVlBF7Ek7KqiFBCjQlRvrzO5rqH8Eu0SWreJsPsB3wjcwMrgewBj1rli4zwBMo3knmegPp+dH9lxfGJS7YUko3oIOhUnzB2rLdK2X+x+iuJ8Xt3bKm2wIZ1jzA1/T0rNXBGoJMx0+6k3BczPsRkGiz4QTPwjkZpljiLYGpB06a+3Klvipqy5wUZUjoHBbk2LfpHyMUXI61zTF8cudxbtp4TLw4Pi3JiOkaH1pb/ADC5/iN9/wCtZy63HidSMuMY/qdGH5UbhrsrHQVPieGyZSvwxHrHXpNB2Wg6c65uSHhnOaK+J4SfEN41815+43pn/DngyYjEsLi5ktpmg7FpCifvNfWjJPSIFbD+GvDwhv3AIzFR8gSR8zR8Goex439B3QvdNRZsLHDrSfDbQegFUY6wkbCj3MUo4jfq0d1mb4laAmuZ9siuYQNfyrovGsRCmuUcexGa51imdOvVYrqHUKFyH25UUthoOkgNl6jMeXvB+VDtvtpR2GtXboFu2rMASwAEkTzPyp0QLUxDW7h70EkDKQdwOUTUxxR8nc94wttlDSMwABnReQB101kmhsYzXCXCELIWASwBC7SdeUxyqtbq92QR4pBBy7jnLTptt5moac5OKi+l/wBnzgScslRzIAq29ix3SoqhTrnYE/1PFK5ht4eUVRbzRK85BjUj19fyqlTrUKrhFlu+QCAfiEHzG9QBHMxp0+6vbzLmkaio3J5iOmkaH8ahTVOi6zjGUZdInNEDeI332qoKDGup5dPevLe40za7R+lfWmXXNOxiI35TPKoXbqi3uPi8S+ETvv5DqaqDGDpPKelSWxKyJJ5gchMTp+9ahmIBGmvL986hHwy/CWc1zLBkkAf8+1dh7NlEtjRfAxOw1Ghg1zXsthi1zvCDAG55k9K2trEqqgOfBMt12G3yiK5+t3SW2JrJFrC2O7WMS2WZFIDGfv8A3FTe/avZjl2Pl7c6VY7j4e0xQnKdCsnQ9PPQ0JZwjmNQsxpJmCNdD8UVy/hzg7UrEN0k+GNsQqqs5Rm5NGsHSPupdn86sv3NIGw0pd3nmPnS/qyttlSk5O2H9obaCyqx4mOnsJOnSKyOaD5itVxU95fDTCICizt5kn2rN8RswZFdTNNPLReSDi1YZhzoK6d2Ew5XDZj9diR6DT8q5p2XwjYi8lkczr5LuT7Cu1pbW2iougUAAeQEUKGOpNjv+PxepzBMddgVnMdid6P4riazuKemEjrNiPtDivCfeufYyCCYGb3nf9itd2izNCLqWMAUv4/wPu8MjjcEB/8A7tR99NYWk69znarJ61Eyc0Tcm20KxmBJEjWJiRuKHjWpECTG3L0pwCF3EQANbunMApYGQcx3CxvHXzqvChyrqoERmY9AOmv4V9eUEiBlEeZk9YO00VZxVy2VZQo0AHhUzGuoI1Ou5qiAALLoNKsvqC0BgFiecAkSRqJ3r3EBpJYak6+u5/8AFVswKqNZEztGtQl8UQtzuOWu018WJMnU0biLttm8KlECwI+Inq+sHXfyihlQyNJJ2HX2qEPrTMkGNDyMwflXgggg/ETp5COv5VcbkIVjUnUkarlOmU7jcyKhcsZRr8XTQ6HWZFQv5FYuMkQwEdN951PtTDhHdswFwAk7Ezv50uewYzRoefpUsLicsiJkAb6iDOlU1aokXTs6JhrYAAAiqMTbJuagm2oHeQYMT9U9aH7MYo3LYzbjT1GwNaGzw7EMC9pCyTBgrpzJhjrpyrnzTjLqxrPNPFaVh3AcBYdFFy0tvwmQJkNMgsZM6aHQV5duW1DZBBAg84aeR/TrQGKxN/vBbyFNTlLiJB31IgzBA+VfXWhVERIzH1Jn86Q1WV7aOVN+aKLLnkpbX4RuRzon6LZ+xc/2/wDFVcLxGQsRuIJOkhSYkTzkii/pK/4137v0oeKCoHFcAXHyAGA2VD/3afOs9eu5hoZI0Ipxxm54HY/XZR7E0b2f7OLmYP4s+g01APrzqYppY90u7/H5C8z5fbHn8KeEhUfEsNW8CH/KD4o99PatRxfFRROCw62LKW10CKAP35mkXF78zT66O1hh8OCiKMXicxqi4sCTUltCaF4liQBFaSCNim1DXuUgadY5xT6/gBcsvbP1lI9+X31z7+ZZMUr8lInzHP7q6hbcAZuUSPfaiRSjcjhap3lcjhV63DMPskg+xipKsnwjlr7b1o+3HBO5xAcfBd8R/wAr8xHST95rPWbjWyGUgMPKY9QadjLckw8fUrJYm/mgCMqjKugBInTNG7edFcLuWlf+qpuIQASNGTXUqDoTExNB4bLm8fw7kaifIEbGpXLiAtlBymcoJ1HTXyrRaCMSzG2fAe7LHKx569eZ60PfK+HKpXTxTtmk/D5RFfZjlUXC+QSVHLXfKDoJI1quZABPpUSNOTl+rxwixQrOoEINASSYnmdBIFeYi/4gVULEDwzuvPXWTvVmJs92uVhFwHUb6R1BjeqO5MBjEGRvrp1HLerMtFgtFpgy2rHbbc+9VWiARmErOoHMV6Eo8YVEvFHuIVg+NQWElZAgwd9D01qi7Ta8FWJvr/8ALGVWWGXePEeZ56DUUMiqfI9eVeKRIB0E6x05xXzCZyglROscp5x7fOrKNJ2SsFLt2eUKSNQSDyPPT8a6r2H4gq3TaufBcMCdg+wPvt8q5f2Tcd3A3BM1rrB0pHJNrJY7GCeJI6LiLACYi8CGWSE1+qoyjQ7+PN6zXNeIv462fFu0CXMDatqAGHhYARGXaPXesUihry5tiwn0Gp/CuZrZrLmUV7fdnM1PM6BMTwy5qCQsxI12GonTzr7+z137a/7mrR4vgv01yRfyEEwE5pAiQDuDpNT/ALJD/HeutDFigqNrHSFt2xbAD3CMqHMJ2zRufTU1qOyNtbgN4GV2U9Y3P5Vhe0uGe81jDJ8V25HoBqSfITPtXVMFhVsWUtoIVFAHtXE0uDdCOST96QXR4re5+CviGIiszjbsmmfEr1Z7GXwK6FHTZDE34rK9oeJZVIG5ozinEIBmsreYuZbc/hRFx2K58yguOxdnkya6n2PxvfYe0DqVJDei7f8AbXKXWCR0rd/wyxH9+vkpH3iiTjuOVkXFlv8AEm6pVFLAElp0kgCCI15muemROYSWG58+Y861Xby2RiQ5MjKoA6amfwrP2cOGJLOEg7NO37j501j/AEjMYuMVf7fcrwVrM2UIGZvh8WXWDzPz9qoNv39KniEAcqGDgEgMJhgDuJ5HeiMNdUDK6SpMlljOIB0Vm0AmOVELssbGgWO7UEMSc5gRkgaBpnU6kaDagr2HKkZo1UMNRsdpjbbar7VtMrFmbNsqgDU9Sem+m9UZTUKK8tEWcUVRkhSrxMgEiDPhbdd9etX4jCHukuEoJ0Cg+IjXxHlEiN+lCMGiCNAZ+dQvhPglcRrZUgifCwKkGDuNeoqTF71ws7As51ZiBJOk1ZgbUhsy/wBMDUxsdwFOwY/hNDYm+rMxCBZOgGwEba+lUaaCLpyp3QVS2YhnBmRIgActeYoQErKmehEx0OvXUTVuFUuVtzAnSBOp9NTNe4jCOhhwR57g9YbYxz6VDPFDLgWMyEBoAbatthb01zhhEHLlkTzgjqK1fAcWVPdXJVxEA6GDtS+fHfqQzgy16X9DSk0FiHiTRamvhhUYeJjI1Ag/jpXOWDdmUv5MajD61Ml2P4sv/UORBQAAkgSfITy3rz+fv1Pzqb8GFuw5EKWGw3MmCZBPXrS76KelOu22gGq2x2bX2rf8s2nZTCpcIxI10KoSOROp19I9qdY7ERVfZ1QMJYgR/TT/APGhOKHSlMeNY1tXSOnhgoQSQl4lit6zmNxVH8RO9Zzix/pt6GixVmpcKxHjMb3jmDopj3619SnA/F7U1XnW8qp0cXK3KVsAxnxVqP4dAm+6j6yge+YVmeIbitR/DX+/b/SfwNa/2ozVoH7fWx9IIBBIQTrvJMRSvGjv7n9IFstuSzZQzBQMxYzBjYeQFMu2w/rfv7KUiH92f9Sfg1ORXAc9uYYKiuW1Y6LG6jQmZMGdII86Nt2bNz4FdYDs0srf6AJjTeTSqm1xQLWFIGpLgnqO8Gh6irZqLincla/gK4TwZGTPdDsro3d92R/eBgvjnUICQCYjxUv4tw1rD5HB2BUkRmBG4EnSZHtRPFzkv4lU8KwywugykiRA5eVLDcLRmJMAASZ0A0GvIVZk+FluhjTXlrtrRHFL91mVb4OZABDLlOXlOkn1NFXXP0bc7D7jS/H32dyzsWMDViSdhzNUnbD5cShGLXlX/f4D+H27RW67hsgHgRWiXIIUyZmOnOlGEtW5Iull1A0Weevy6U7T/wCDB55vzFK8eJg8yWk8ztuapPsLqsKxbK8xTf1sqe+SqpoVQtlMQYJnU7nXrtV2Izd2mZmOugOwEDUeZoex8Q9RRfFrhJtySf6SDU8patCia8gloAkZjAmCYJj2/KrbF45wc2s/EevImagx8A9T+FG8ZEdxHOytQj4NdwjHd4gbnsw6Gr8dwi3iSmcssHRlifv5Uo4R/eN527ZPrrr61obO1ITWyfA/D14+S5uHG0mVGYpmUeLcwMx+8/dUe7o++xNtZPP8qEirhLcrENenDNt9kv6P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42" name="AutoShape 42" descr="data:image/jpeg;base64,/9j/4AAQSkZJRgABAQAAAQABAAD/2wCEAAkGBhQSERUUEhQVFBUUFBQUFBQUFBQUFRUVFRQVFRQUFBQXHCYeFxkjGhQUHy8gIycpLCwsFh4xNTAqNSYrLCkBCQoKDgwOGg8PGikcHBwpKSkpKSkpKSkpKSkpKSkpKSkpKSkpLCkpKSkpLCkpKSkpLCkpKSksKSkpKSksKSksKf/AABEIAQAAxQMBIgACEQEDEQH/xAAcAAACAgMBAQAAAAAAAAAAAAAEBQMGAQIHAAj/xABBEAACAQIEAwUEBwcCBgMAAAABAgADEQQSITEFQVEGE2FxgSIykaEUQlKxwdHwBxUjYnKC4ZLCM2NzstLxJLPi/8QAGgEAAgMBAQAAAAAAAAAAAAAAAgMAAQQFBv/EACgRAAICAgICAgIBBQEAAAAAAAABAhEDIQQSEzFBUQUigRQyYXGxI//aAAwDAQACEQMRAD8ArjSNzpN6hg5OslnPZLQWTZZDTEMppGxdIhGKUyuHtC1pyRKcXOdlkKUZlkhWUASLuyxCqCxJsABcnyEXZdWBsswJeOFfs+0D4psv/KX3vJm5fAxk/A8IgsKCnxJb7yfwgtjY4ZM59TMmTWWjHcNojULSp/1M9/8ATe8X0cLhmYL3oQ7XGYrcm3MXA/xFtF+JoX06cNoYeMq/Zsp7rB/W3/v4zGHw9t5lnaKpr2RJhJKMN4QkCeirIDmgJE6QlzB6phpEBHWRMkIcSO0OimDMkErUoxZJA6xsEAABLSUPJWSRFJoIb99PSIz0gdCapNFpaw00JkYeGLNKVKFJTm1KnJZHIlGoWeLWnmeag3MBu2Q3oozsFUEsxsANyZ0HgHBaeEXM9mqkXZuSD7I6C/PmYp4BgRQTvGA7x9FvyFr38OvlDVxmb2nJy3uORY7X8uQ+HWA2a8WOtsZY3FlhmNwuu+hPz0Hz315RSbn3m7sb2UgG3idwPEmaV+I5jm0JA0XQKu1j0H+fISncW4zUxLsie4p+qSFv1Jtqba9edxJQ96HXFeOYOj79VQdd2LMb+hPwtK9W4nRra0FFSxJF1rAXAsDe2W/mZLgezqU172ooZiLjNmsBa9zm15g26EbXiPH4qriKmVbkA+zmzBRYbhQdLacvjGJaFuR0XgvGQaS+zY2sc2ZTfYi508hpvJMTWF7i9juP1vKt2YrhCadYg2OUVV1OgGjcytjvuNj1j3H0mS5Hti1yOZHhy56HntAlFfJepLYeGuLiampE+E4stxY3R9Adsr9COV4ezzDKHRmWSpm71IPUabMZqFjYoojE27uSqkkAj1AoEanIWpQ6oINVjOpQI4tB6kmrtAqtTWFQJhmnpE7T0lF2SZZmal5BUryygrPNc0FFWbK5gsgRGHBcIC+Zth8NOfjFoBjag2Wnb7Vx/aBdv14yhmONyD6+NzEsxIFrm3JdwoPU/lBH4iWBciyXIUD6xGlh4Cx16AmJcVizUqLRRrXOaow5bFz6CwHiILjuKrUfuwMtCiuZ/wCYD3afiDbMetrQaNl0NcRimqiym2bVddwT75+It53kq00oLToqNT7Tk8hub+LEL/q6CD8OxWWn3z++/tAHlf3b+AAB9YpTjeZmcG5NghPPU3b1IY+QEsv2WLida625c/PWy2Hr+hFWJK0aWgLVH1IW2Z7k5RciyLrvbrYHWwmKx2ZlTe2gH22OtRj4AWB82A3lq4VggRmbVjqb26fLpK7URRs5/wAO4w1PFJ3qBEU6hb7gGxzHVrE/jL5iK2Uew2am2q2+aj52gHajhCuuZRqDe/pKrw3jbU70m2Hu3OlwdB6jS/8ATL7diOPVjHir923eD/h1Tlqgfa3Wovj+vGWDhHEe9p3JGZTla3Ucx4EWPrKvUx6tmpMbpWBamfssfqn1t625QfstxErV7tjbN7HmRcp+I+ECcOyM+Q6Cpm8GpPpN88qCoSTZp5nkBqSJ60dZCd6kgd7yNqk0vJZKI6xi7ERk6QDFU5dg0BmpPSImel2UGPB3EOZJCaEhCBBCaaTyUZOqQWQ1USTjON7uyjdaeY+ZNkHqdbfyzakliD4yvccx5zOTrdrJ/aoAJ66mCx+LWyKtie6pM271dWt9gaJTB/mOt+d7yLAYe9qZ/rq25nSy+g++BcSr3qAXuKY16ki3zJPzHSFYfEdzQao3v1NR5bD7r+UscSdoeKknuUPKxty+3t5hR6wShXCnTZNB9w+Q+BizCVibudhzPvG3u/PX1hmCT3c4bKSWLAX6AD4D5ym6CWyw9msIzsajc9vK99vE6/CXfCYZiIp4RUQqMu0LxfHTS0Vcx5W0+cQ3bNK0g3F8PJFpzHtZw406l7W/X52lrPHcRVPtVBSXpTF2/wBR0ESdpaFNl9h2J55nLX8dduukKKp2DJ9lRV2xN08VbN8dGHxJ08JNRxBzh+ejevX/AFAmAL7zL1LD4t/+p6hV0T1U/EERzRjZ17A4kVEVx9ZQfiNYQREfZDEZ6FvssR5X1t8bywCnFiWtgzrI8phppzQ05CAuSeywju5qwhIhAwgOLEOcQXEawwWKmpzM3qbz0gNB5E1CTIM3SWWeCTbLPCZvBZDKCUniNQGqgOykuRe1ypLW8bm0u6pv5GULHUSznyKDrrUG3oICezRi+QbDUS5Fz7xNRz/Le5I9Dp4uIPx3HmowC7XNvADRfTeMMY/doQPeNh+CL8NfhFaKEOwZgLa7DfW3PW8MYRl8iANz2G36H5xjwviVTU5dALmzWNjpsd457P8ABjVN8obqWF5b8L2UA1bKP6VA+cDshyxyQr7OV+8Iy8/SF9psDUQXQFjbb7vKWrgvBFDiwjXjmCVbFrW8YuhzVnDl7PV6jhnYlbi6l8unMaaDzhuG7KVEzXe4voo9qw6Zj0nTU4ZQbUop53sNZnF0KYWygDyAEtz1QMcW7OE4ykVrWP2vvN/wgdTRB/UbfCPe1VIJiWH9LD5xDiD7C+d/18o2DtGaaqR0D9nGLLB16gN6jQy9KJzv9mQ9th/Lf5kfjOjyq2IkaFZo4mzvIKlaRIE8Wg9Z7SNsTaCYjF6Syieq0Dd95EcXI3rywTFSZkD1pmQgUlSSipAFqSVHhFheeSI0GUwikIEiguiJR8QwDuG+q1reZP4iX2gspXaTCZMQeQcrY/A+p3iU9j8L3QixgZjc33W3mVv8h+EDxDWHmVW3kRv47/GNcSmYA9NAN7ZdDEvEmswty9r10jlsfVbOwdjAqUAdLnnCuJccy6LqeUr3ZfEk0RY6FbiZrY+nRcPXJC31IUsB52GgmO25UdHSjZ0Ls/WWmi1Kje0RqCRufDpMce7RUXsGIAv94tEvEK9CrSVir2Kgq3d2FiAQbm3UH1ESUiveAgPVa9gDoN/WN2tCrT2a1cQ1CoQCcjG6g3FgTpC14gWi/i2Lq16iolNSFsXcMSF2soNgCdeW0kwS3HqQb+G8VNNMOM0ykdt6f/ylP2k+4mVzHLsPX47fdLJ2lqirjGsfZpju79WALMPjp6RHi6X8Yi98pNz67D0tNcHSSOfP+5su/wCzTCkF2PJAg89D+Mu9WtaI+y2C7nDLfRm9s/3G4+VoTiMVKszyYQ+IgdbESA1YPUaRMW2eq4iCVa82qGCPLKN1eZzTCCTU6UFsEHM9CDhZmD2IQq0KpzY4EzZcORH90GbrC8PBVQwqkIDZQdRaLu0fCu+QMvvIQfMc4al5Kr23ESwoypnNmbK5Q9SfW4BijiOFNtNwfkf8y8doeCAqWpg3BJIt1G8rOGB7wKQuo0zXAJtqLgbxidG201oY9gOLWY0H01/hk9Tuv5TpHC+GqScwBB62O+48pyuoQagCqoyjXKCLm/XnL/2b7QFLCrc/zeHj4+MTN/tZpxvtCix4umuHRkQOqMLBabKUUEAH2HU22G0rwxV2Ps1XLG+VmyLfS1wgUnYc5e1x1J1uQDcaHlA3rUV1AQGM7XsJa1QrwmEslyoXwUZVXoFHQRDxOoUVu7F3Pu+BP1j5bx1xPjWlllbxpIKk873/AF6xbfZisj6RbKZV4QQzMdVpXF7+9UYa+fj5zfsn2eavWNSoLU0a5v8AWa/ujraW0UFYWI030h1IZVAUWA2Aje1GHva0T4qtYRRUq3MJxFzBkoGSwXFm4E0qJJws0dYaQFANRYI+8JxVS0Dptc6S/QIZh6V4wpYeC4OkY3oUpmnItRsGNCeh/wBHnorsX4yZsKOkiOEEMNUTXPAUywJsPMBLR1geDmoQXbulOzFWN/6dLfEy0YHgGHpEMFzsNQzm/qANPlNuPBknv0h0ePORREENw/C6lT3Kbt5KbfHYToAxK5sxRS1gNFGZjy9q2kLfHi2nUjyINiIc8Lh/cF/TtOmUROwz2zVmFJegs7nw+yD6mUjtb2dpe7SXKAb3Ju5PUnb0AnWOLUXcEob+EplXhTVG9oEWOx336RTf0PjjUTn3C+zD+eu8ttLhJA1EteE4RlG0kr4MQGm/Y+OioVGemPZJA6cvhAWxrnp8I64rQtFhoaRLQxM9QUkgnWMavCTVUZRcqb2G5BGtvhNMHQtLBwpslQdDpfp4xsI2IyK1RXaWDtJRQnRK/DKNb/iJZvtro3qRv6xXiexLb0nDDkGGU/EXEqWOa9GbrRTamGkQw8sGJ7M4hd6RPipBHxB0kB4DWyZwoZb2ORlcg+IW8FRn9BPaErUZDWoaRocI43Rh5qR+E0ejeG5uPsRRV8RhCxkuG4baPDhBMLh9YHlb0X1RBhsHGFKhPUxabGpaJlKyUbFZmQtXnoINoSDiUf8AAKBcd4RcXy0wdmfmSOar8z5SoYHCl2CjdiB5XNrzp3CaIsMosiAKg8Bz9d/WdPhcZTl2fwa+Dx/JJzl6j/0OpAIACdQNTfnuTBquPFNgR7jmx6Kx90+AO3mR1kGMxG8RJxIEtTqaq1wfXp4zvHoo8e1ZbTjRv5GLeGdomZslVe7X2276rdQ5GXS5vrrewtYWHKVfBcZqJWNGo2bIQL/aFrq/qCDGGNUJUSsBqjA3ADG19RY7+UzZoeRCsvEUlaLphMT7Q8Y4q4Om4uwF+ux+MqmE4klZi9Mu7d4/eAoFCKFDHXla4GupsZZKFbMgtqCN+s5coOLpnGlF/INVoZdrGCiiCdRDauGY7SIYA8zFMJNFc43wq/tCLsPwPNLZiMLpY6yOjhwOUHqWI04TY+AjvCcLUgG4/Iz2ITpI6CFdjCjop7LFgsJlFiQekKeqqxBSrtGVFbjWNT+hLjYSMVfaV/GVjRxtNlH8PEZkrD6oYKzCp4aCxPQQ/F1CnlEHGuNZE7wuabAHuyUurDUOpY6C+2hzb6WlqTstRr0Nq1azEK2gO17xHxwUyjPls4tcrz1A9oeu8ruH7QVWRWYrckgIof8A4e6PdxqpuQPKTY7tBkS5FiRzG86bxxywpo68OMpw2RVHEgbECYxtUMoqLoD7yj6pP4H5Ra1e88/LDLHKmcHLCWKXWQyXEXmtatBKVSZqNEtbBi7MtiJ6BVKk9GdStDDheD9sfrkRLxSGVLeEq/CgO9QdWA+Oks2MqWnY/Gv/AM3/ALO3wK6OP+RTjqkrHEG10j3GVt5X+JDS4nSO/HQBjsSe8o1L/wDKY+RLJ8iw9JbKdqqWVla29r6em49ZSnOZXQ8xdfB19pfja3rLf2Ypq1FGXR8u/UdD4Ra22KehxgsE7LTZXZWpKUChyA9wRmYkEg+0eR/GPsLxsU2Y1MtNFVdGYsXN7MyixPManrtziynXCEA3Bbl4gX0POb4/M1NhTClyAVzAFcwIK3vttuNYOXCmtezlcjCp20XWhWVxcdBoRYi+uomXpyiUcbiKSMzkNVso7xmIVQCb5UBuRrfS5O1tJZcB2lpvnFyVpWz1bBUuQT13AFyOQIuJzJwo5U8coMNq0IG2FjFa6st1IYHYg3HxEiDaxLCi9ADYObU8FGYpyRaUugXJIHoYcDlCe4mxYKLnTxgmP4ulPc66abEg81voY2MBfZt0gXipCKSbX5AsqZiPqhm0BnMuO8YNWoxw9SoQhGVBmYKtQOjFyRlA9oqF1JzHW1jLTj+MNiGsad6VyrMbXWqlxbKt7gg2so1uNhFz8HCsXzlSbXso5bAb2HhsOU04sDbtnT4mG3cio4PH1kstOgXsLAkG1uQudhIuO1qjFe8UK1tVHL9XluSqALrdh9VqjAFvFBsF/mO/IGVHtFmFRS5W7LeytmA1PPrtNzSXo7Ca9Il4Xjsuh1B0IPOWD90pUX2feABI8P8AH5Sj08TY6R7wbjJRgb/rmD4HaJy4lNf5MXN4izxte16MVaWRiJo9W0N4zWBe45i8VYh9J57JFqVHlXcXTBqtbWZi+vU1noaiwbZcuA1s2Jpj+Yn/AEqzf7ZZOKPKp2ON8WD9mnUPyC/7pYOJ1Z1vx8axv/Z6b8XHTYlxTxe9UEEGEYqpYxTjGtqJ0Dti3FNlaWLsVxPIFB21HwJlY4lXzC/xk/ZvFEbakN/mLv8AYqrdHVcbUDJf9f4PjIcDjjz+MEwmMzIAdDaSUEF/1+ukaKeNKND3RhqLjfa+o1EScVwDO16bAqNXpMFCuR1IIJsotZtNYWlQjY/l8Jk1AdwPMQZRUvZkeDZHhOO1TeoVKu5FxoURFJsFK+xVzFjck8rjlDx2yVy4pqWYaKA1MsDr7ylgSAcu23XnBhlt1G1iPlAqmKWn7lFmv9nQWGgAHIAaATN/TRszS4ab0NMb2xamGLDILgKQVc7m7AJmzA3AtbcTVe1VSo7BPZH2mp1GS9zdabAgFgCbnyFoo/eFYn2cP5FmJIttv5Sek2JP1VUeFpFxooi4UfkZ4nE13V7VLMwIuVUWA91ci7jVt252nqTt9Y5jYAtlCk2FhcDTYTTD03+sZOXtNMccY7QyOGEHpGHU/VAHj4ekGxVK62PPQ8vZ+t8tPWb1saBFPFuJ6ALzBl3Q6MGC8X4pQW4Zc3p+rSj8cxqsy5FygXsOkM4pXri5KgL10lZxeIJOsTOdDlonXEdIXhq9jvFVEk7bQ2mtoEZNh2WbD4jvFyn3ht+UFxB0MWYXFWO8d4jCNVotVRScihqtuSk2FS3TrMnLwp/uji/keKq8sf5K5iDrPSDEVbGemCzzzL1+zeiXr1W5LRt6s62/7TLDxSiL6ct5Wf2c4B8TVekKr00Cd64pnKXIKogZhrlGZjYdZ0NOweGA9oOx697Vv/3To4eRHHHrR3uByo4ob2c+x1KxP6tEGMq2E6ZjuxYF+7rMNdFqKtQD4ZW+cqPGuxOI1KolT/pMFJ/sqW+RM0rkwl8nXjzMU/mih4mpuORjnspgiys4+1YegF4n4pg3osVqIyHo6lT89/SWLsnXy4dfEsT6mVB3M0RkpTSjsd0kYbkwpax6wL6ZPfS5qHtDhMS2+vx9YZRxpO9/URAnETYW/KS0uJ9b+hBkEtFjXHAcpn98dFiFeIjz85IOIDrJYvpY8XijfZm/05jEY4j4zccS8ZLJ419Dv6QZDWxEV/vMdZBU4nLJ1oMr1oBiEufIf5kX7wBOt5p9Lvc9ZRTE3aDAuELl/ZHK5lMd7Nci87F2R4QuIxN6ozIiOcpFwcwya3/qP+mUHt52PfBVioBakxJpPvdfsn+Yc5izP9jJ54+VwfsSLi78putQ9YHh8G7HQHzOksXBuz6k3qnN/KNB6ncxLzqIyeeMPZngvCnrt/DGn1nPur/5HwE6t2coph0CLrf3ybEuSLHN4crbARHw5lUBVAAFgANI2oHWZ55nkOVnzyyvfr6Kv2q/ZTUet3mBCmm9yabNlNNuai+666dLETMv2GxBA3mYs5/hiVD9kNDLia3/AER/9gnTa7WBlJ7A8PNLEVD1pW+DqZdK5k+CYFoT4xzeKa9Ux3iacUYumIv5NZWe0lYVKTI4DAjYi/qL7HylE4DibUlHhLn2j0RvIznHA8R7Fpu4sqkzqfjpJT/gs/0ya/S4sNeRNXnS7nZbQ7GNFpj6YBE5xeUbA3tvfTytB3xpMF5BDkOzxKe/ecr5rz3fmB5QexYf3oZ4cWMrprGYFcyeUvsWUcW8ZuvFhzlX78z3fmTylORcKXFQx6SNccJXqNWoBe4Atztf0E3+k6wvKLlIv3Zzjvdo5G7MB/ao0HxLTfi/GPpCFH1B1HgRsYs4Rw9u5U/aGb0JNpNUwDTLOVs8nyJN5XJfYhq8OynTUTFOoVjOvhXG0F7knRhY8iNj+UwyxNejRj5ClqQdw/HaiWXCYq8ozKUPONMBxKK9DZR+i9Ua2k9EmH4jpvPQuwouPBqGWoT/ACn7wYyqHWQYT3vQ/dN6xjZrYrD6A8TUifF1dIyxcS41og0lZ7RH2D5Gco4VVtpOodpKlqbf0n7pyrDaGaML2a+M6kmh2Kk1LyBKkzebbO12Nq1bl+un4SIvMMZ4QHsWzN5kGayRKd5OrZRrmmAYdRwN94bh8NRHvDN62EasbCEuaeDRviuI0F0WmCflFtXHM59lbDoBb5ymkvkBtI1p3JjXg2DFWtTR7hWdQ1t8pIB+UAw2Fc62/X3yw9nezNSvVCKSHOoAI9lQRd2v7oFxBp/InI11fwdW/dAGgFraAdANLSN+EeEs3cTU0BAPLMqdTgfhB6nZ4HlLmcOJqcMJKBKJjOywdbbHkfz6iUrH4R6DlWBBH6B8p21sMIi7U9lxiKRKj+IoJXx55fXl4xOTFe0aMOVx0/RzfDcSsJ6Ka4KMQdCDa3lvMzIbaTO2cNxoLgef3GG1TrKR2b4nfFU16sR8VaXOo0HFNyjsxYHaBcUIlxyaR7V2izF09IyjSc87W1bU2HUWnOGWxnUe02DLZgNlRnPkCq/e6zmeLp2M04l+tmzCtaJKbSVYJSMLpi80I6kNmpE2Am4SbKkJRCaNFWSq1pJToyc0QvvCMUSUwb6QTNS5bTYQ/u1ZSQpJ021tcgDN0FyB6wBxIyWjemEHK/nrNzi/sgCDk9dPPT5HWS4fEohvlLn1AlV9CZOIywlCrUA1Kr1205y2/szRFx6ZDcFKoLE3LEofiPZ+6UavxKo4sQAvS5APnbU+Rlm4AmIwoXHoi1aNJlLZG95WBRsovdiM+mm452tJOkjFyMkXBxfyd37uYKTOBrZ6aP8AaVW6e8Adj5ya0zpnAoFKzGSFFZqVhWUClJg04VkmlU5QT0Elkop/F+yuHqVmqPTBZrZr7XF9QOV76+U9GNe5M9Mjas1qLo5p2bxB+l0T/wAxfmbfjOk16+Wc74XhQtZD0dT8GEvldu8Om0y4lUbFcb0yVsULQZ2vA8ThmBnsPWIOsamagTF8KNTvl9lTUw9RFZjZQQ1N7k20FkJ9JyjinAKhrGjTGdyxKAA2NK5HeltgMwtY66g+Xa8TRWohB2III8xb03nPeKUalDE1andu1MU7MaZA0LF1zXYWTMljbTQA3vHwk6r6LU5xVRZzyvh2pVDTqCzLa4N7i4B108YTRIt/7/KY4tXWpVdxddVAAWyki/ee0DplNhzvvpM4Zjb3iP7h+JmvFtGzFlnXsnRAfH1ElWmP0L/756mT9tT/AFZfvFjJCpP2T5Mp+TzSkjSskq9mQlt9P7T/AOUJrUf4asGzhg2YCmxyMp1RmtvYq1wdmED+jtyQ+hX/AGiXN+2YXACnSrLQZUK1KD4dW70AWADHMdRYC4PoBFZZuNUJyZ5xqgbsR2hNNWoCrRooG7xmemHqOGyrlpqxIuCt+epGhOkrWPfvXc01tS75gmRAlywAWmGXNfRLhb63JtrLF+zjhDFWxWdaYQrSVqgRh3henkOraFSemzDWKcLhay49sMr06VUPUDPb+EjFD7RzEBB7QUNbTMLcpnUkptmZ5bk5ISiiovoL875ieh6TNzsAT8FHyh3HuGV8LWNGoyXC5w65cjr9Uq+pJNtup31gCZjvc/0gn5/5mqMk/Q6M1I3FMc/gL/fvLXwDtIaNNabU3dad2zBL92SPZdlzEWV8oBNtr6EmVmkltRlUcySGPryHzMYYLEmmD7bBallqWOUuo1ygEa8+RErLj7IHJDsj6RwtYMgINwQNZLnlW7OcaL0U9kgKigacgLWNto0GPmF5Ir2ceacXTGeaYLRf9Onvpd5ayRYAcXkGMfSR06t5BXq38pcpaGY427BzTnoPXxYBnonRps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46" name="AutoShape 46" descr="data:image/jpeg;base64,/9j/4AAQSkZJRgABAQAAAQABAAD/2wCEAAkGBxQQERUUERQUFhUXGBoaGBcYGB8fGhwcIBcZGCQdJCAdHyghHCYlHBYdIjEnJSkrLi4uFx80ODUsNyg5LiwBCgoKDg0OGxAQGzckICQ3MjQsLCwsLzQsMCwvKywsLCw3NDQvLCwvLCwsLCwsLCw0LCwsLCwsLCwsLCwsLCwsLP/AABEIAEoAeAMBEQACEQEDEQH/xAAcAAACAwEBAQEAAAAAAAAAAAAFBgAEBwMBAgj/xABBEAABAgMEBAsFBgUFAAAAAAABAgMABBEFEiExBgdBURMiMkJhcXOBkbGyMzVyocEUI1JTgtEVNJPC8RYlYpLw/8QAGgEAAgMBAQAAAAAAAAAAAAAAAAMCBAUBBv/EADURAAICAQIDBAgFBAMAAAAAAAABAgMRBDESITIFM0FREyJhcYGRwfAUFVKx0SNCoeEGFkP/2gAMAwEAAhEDEQA/ANxgAkAEgAFWnpCxLjjrFaKNAdiQkk7hS+nxENhTOeyIuaQoW3p2+lDhbaabupSpIUq+tSVLSkKoKBIIVUYmsW69JBtZeRUrGC+CtqaSFcIUJUAeUG86U2VxrshjlpKtzmLJHE6HvKBMzP7yQkrcOABOagMlA98Vp9r6WtPhX3y/lDFpbJbnEaLSY5T0yv4UoT51ihP/AJNBdMPv5ocuz34s7s2HLJ9mueHwuJHkmFf9k4v/ADyS/L8f3BGXacb9lOT6e0SlwfMiO/nlMuun5B+DktphSU0hmW8FOS74/wCSVMq8eMmJLtHQz8XH3/aOOi5e0YpG3kODjhTfSaFP/ZJKR30h8eGazXJS9xB5XUsBYGOASACQASAAZb1usyTd99VPwpHKUdwG2GVVSseIkZSUVzMntrWJMvr+7o22LwCBjWoKeMdudaDCo2xq16KEVz5srytbLNjaMzKwl6beMu2KlIKRfN5KQQEUoKhCcCNgwivq9fp9PF5+/wCSddM5sYRaaGRSXRQ/muUU4ca57BuGQ2Ujyup7ZsseIckaVekjHqLUnJzcxQlRA2KX5jCvfCKqtXfzbwvNk5SqgGpXRpIH3i1L6MhiEjZjkkDPZF+vs6K65N/48l9F8hEr29lgIsWWyjktoHdXzi1DTVQ2ihbsk92WwKZQ9LBA9gA+VoCswD1iOOKe4ZwU3LIZUa3ADvTxT4iES0tTeeHD81yGKyS8QdaUo+2EiXvKoa43cOgZVruMV9TC9JeibfvwTrcH1cglZk4pxNHG1NrGYIwPSDFii2U168cMXOKT5PKLsWCAJ0mt1uRYLrmJyQmuKlbB+8NpqdsuFEZSUVkwq07Renn77lVuLNEpSMtyUiNyEI1Rwtim25M0Ow9HGrLQHZgByaUKoRzUf+3+EYHafaqrjiPwXn/ovafTcTyzwl2bd2rWfAD6CPJf1dTZ5s0/VriN9kaPNs0Uui17zkOofWNzTaCFXOXNlOy9y5LYNRfEFdM62b1HEG7irjDDr3RCFkJvEXl+w64tc2cf4zL/AJ7P9RP7w70c/J/IjxLzJ/GZf89n+on94PRz8n8g4l5lmXmEOC82pKxvSQR4iItNbncnWOASACQASACQAYfrLtkzM4pAPEZqhPXzj4in6Y2tHVwV58WVLZZkMOq2xEttrnnhlUN12AcpXWch1HfFXtHUqK4fBc2Nory8n1OzSn3Co4lRwHkBHgbbZXT4nu/vBtRioLA92HZYl26c88o/TqEej0mmVEMeL3KFtjm/YEotijjNt3m1pBpVJFd2GcQsi5RcV4nYvDyIbFjLUl1KVt3i2tKQHEm8SkimBjN7O0N1GojZYsJFi+6E4OK8RBtnRCak2+EfbARUCoUDiY9nXqa7HiLMmVbissrWFo8/OlYl0BVwAqqQKVrTPqPhErbo144mEYOWxr+glnqkJK5NXGyFqOKhShptyjJ1M1bZmHMs1rhjzCydI5Qmgmpevap/eFegs/S/kS44+ZdcnG0pvqcQEfiKgE+NaRBRbeEjuUUk6RyhNBNS9e1T+8T9BZ+l/I5xx8wmhQIqCCDtEKJHsAH5mmXitSlnNRKj1kk/WPSJYWCgzcJtj7PZjbadiG0nvoT848j2tY3XN+b+pqaWPrIEaLsX5lFebVXhGH2fDivWfDmW73iDNAj0xnkgArWl7Fz4FekxKHUjj2MO1bj/AHGX7/QY29Z3UipV1I0jWx7vV2jfqjO0Pej7ukAaleVNdTXm7FjtHaPx+hCjxKOuJwmaaSSboaqBsqVKxp3RLQL1Gzl25RsXQF2blPtDbiKm9dQQcaEjPZWkMs1cYT4GiMam1kWrOlVzLjbKMSpVEAnAE5noyx6oszkoJyYtLPIOaX6Hrs5LalOJWFkjAEUIFducIo1KtbSWME518I56mnVFh9JJIStN0VwFU403RT7QS4kxtGzNDjPHn5x0gkSxMvNEUurUB1VqPkRHoqp8UFIoyWG0bdNH7TZyVJxq2hfgAT9Y8r2lU3XOPl9DS08sSTAeiLgEyK7UkfX6RidmSSv96LeoXqD5HoygSACtaXsXPgV6TEodSOPYw/Vx7xl+/wBBjb1ndSKlXUjR9bHu9XaN+qM7Q96Pu6QBqW5U11NebsP7R2j8foQo8Qfrg/nG+yHqVDNB3b95G7qHfVp7ta/X6jFLWd8x1XSZToH7wlfj/tMauq7qRWr6kPWuf2Mv2ivTFHs/qkOv2RNTHsZjtE+mDtDqiFGzNGjOHmaa2NGyqk20K0F10DdsV3ZHujS0N6X9N/ARdD+5FnVPbwcZMq4RebxRXnIOY/SfkRENdTh8a2e52mfLB0tWSVJvhSOTW8g7Ph+nVHi9TTLS2qUdt1/BrVzVkcMd5KaS6hK0ZEeHRHoarI2QUo+JRlFxeGJ2l+nqpCY4EMBfFCrxXTOuy6d0aNGkVsOLOBE7eF4wMLFoiYkeGICb7JURWoHFOFYruHDZw+0nnMcmO6uPeMv+r0GNjWd1Iq1dSNH1se71do36oztD3o+7pAGpXlTXU15uw/tHaPx+hCjxB+uD+cb7IepUM0Hdv3kbuod9Wnu1r9fqMUtZ3zHVdJlOgfvCV+P+0xq6rupFavqQ9a5/Yy/aK9MUez+qQ6/ZE1MexmO0T6YO0OqIUbM0aM4eeLSCCCAQcCDlABlmk+hL0m6Jqzr1Em9cGKkdQ5yejzjUp1UbFwWledbi8xGXRzSdi1GuCeAS8BxmzhU/iTXyzEUNboVwtSWYsdVdzytz7abds9ZNC4wc6bOnoPyMYEY26KX6oMutxuXkzhpbou3aqEusOBLqRQHYRndUMxQ+Zj0Oi10VHMecWUbqXnnuJP8Aoa00jggPuzsDwueFa/KNL8VR1ePuEejnsOeg2g32FXDPKC3qUATyUg59ZO+Kep1fpFwx2G118PNhHWDZTs3JlphN5d9BpUDAHeSBC9LZGFmZbHbItxwgPqx0emJIzBmUBAWG7vGSa3b9eSTTlCHay6FijwvbP0I1Qcc5KmsfReanJlDku2FoDYBN9IxvE7SN8S0l9dcGpM5bCUnyGnQezXJaSbaeTdWm9UVBzUTmDSKupnGdjlHYZWmo4Zn+iWhM6xOMOOshKEKqo30GgoRkFVjQv1VUq2kxEK5JrKGrWZYT862yJZAWUrUVcZIoCmnOIipo7YVt8TG2xcksHurKwX5Jt5Mwi4VLSU8ZJqAmnNJg1lsLGuFhVFxTyOkUxpIAJAAuW9oZLTar9C06MnWzRVekZHz6YsVamdaxuvJkJVpleWNoSnFcSmda/EkhLwHSFUSvxrEpKmzb1X/g4uOPtB1o29LS7yFDhZe/UE3CClQ/G2oYg15SKjOsU/ynOZ0vhl7Nn9P2G/iccp80H3L8wlCiuqKKIWwQakpKQrHEUqThX5QvNsOVkfiv43/cliL5xZ5L2JiCH3K3FINKgipWRSpNKcJhWvJTDFJPYi1g+16P1bKeGWFFITeBOAClqwxrz9/NESOF2Xs4JU4StSuEABCjUCl7IbMFU7hABRb0doFJ4Z26UIQAFUu3RSopvz8YAPi0rBcWl7g5hSVOXaVrRNL2OChjxtlOSM4ACMnZ5bccWXFKvhIunJNL2WO290ZCAAZJ6LhlsIQ+7gtCqk40SkJCcKYUH+YALqbJKTVLzg+8KyCa1rQ3cTgMPOACuvR8lso4d2pSlN6uOCnFVzrX7zfzRnAAcgAkAEgAkAGR20OGnnQ7xwlRCQvjADcK5RrV+rWscitLnLmPmh8uhttQbSlIqMEgAbd0UL5NvmOgsDBCCZIAJABIAJABIAJABIAJA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Title 27"/>
          <p:cNvSpPr>
            <a:spLocks noGrp="1"/>
          </p:cNvSpPr>
          <p:nvPr>
            <p:ph type="ctrTitle"/>
          </p:nvPr>
        </p:nvSpPr>
        <p:spPr>
          <a:xfrm>
            <a:off x="381000" y="762000"/>
            <a:ext cx="3886200" cy="914400"/>
          </a:xfrm>
        </p:spPr>
        <p:txBody>
          <a:bodyPr>
            <a:noAutofit/>
          </a:bodyPr>
          <a:lstStyle/>
          <a:p>
            <a:pPr algn="ctr"/>
            <a:r>
              <a:rPr lang="en-US" sz="4000" dirty="0" err="1" smtClean="0">
                <a:solidFill>
                  <a:schemeClr val="bg1"/>
                </a:solidFill>
              </a:rPr>
              <a:t>Persaingan</a:t>
            </a:r>
            <a:r>
              <a:rPr lang="en-US" sz="4000" dirty="0" smtClean="0">
                <a:solidFill>
                  <a:schemeClr val="bg1"/>
                </a:solidFill>
              </a:rPr>
              <a:t> </a:t>
            </a:r>
            <a:r>
              <a:rPr lang="en-US" sz="4000" dirty="0" err="1" smtClean="0">
                <a:solidFill>
                  <a:schemeClr val="bg1"/>
                </a:solidFill>
              </a:rPr>
              <a:t>Pasaran</a:t>
            </a:r>
            <a:endParaRPr lang="en-US" sz="40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1.11111E-6 L -0.56823 0.50972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512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4" y="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6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556E-17 4.44444E-6 L 0.525 4.44444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512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2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338" name="Picture 2" descr="http://www.motortrader.com.my/news/wp-content/uploads/images/Cars/Images/HONDA/Accord-2011/Accord-1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38200" y="304800"/>
            <a:ext cx="7010400" cy="6204206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5257800" y="2667000"/>
            <a:ext cx="3505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/>
              <a:t>Evolusi</a:t>
            </a:r>
            <a:r>
              <a:rPr lang="en-US" sz="2400" b="1" dirty="0" smtClean="0"/>
              <a:t> Honda Accord</a:t>
            </a:r>
            <a:endParaRPr lang="en-US" sz="2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6" descr="https://encrypted-tbn2.gstatic.com/images?q=tbn:ANd9GcSr677L1efk1GCWMmmBpRfYNyZt8dj5jqecwTQv04Tvc5C4kwDLew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34200" y="838200"/>
            <a:ext cx="1804156" cy="1981200"/>
          </a:xfrm>
          <a:prstGeom prst="rect">
            <a:avLst/>
          </a:prstGeom>
          <a:noFill/>
        </p:spPr>
      </p:pic>
      <p:pic>
        <p:nvPicPr>
          <p:cNvPr id="3" name="Picture 44" descr="https://encrypted-tbn1.gstatic.com/images?q=tbn:ANd9GcQp90obTsjXy88MNv79yrTW_WUeEZzk-MfZAKs_LIjTux3d10tc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52800" y="762000"/>
            <a:ext cx="3200400" cy="4826833"/>
          </a:xfrm>
          <a:prstGeom prst="rect">
            <a:avLst/>
          </a:prstGeom>
          <a:noFill/>
        </p:spPr>
      </p:pic>
      <p:pic>
        <p:nvPicPr>
          <p:cNvPr id="8602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1000" y="2438400"/>
            <a:ext cx="2765699" cy="32146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0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60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AutoShape 2" descr="data:image/jpeg;base64,/9j/4AAQSkZJRgABAQAAAQABAAD/2wCEAAkGBxQHBhUQExISFBUWGCIYGBYYFBEXGBwZGxoiHh4bIR4hKCggGBwlGxgeITEiJSkrLi4uHCAzODMsNygtMSsBCgoKDQ0OGxAQGiwkHCQtLCwsLCw3NzAsLDIvLS0wNy0sLDUsLCwsLCwuLSwtLCwsLCwsLCwwLCwsLCwsLCwsLP/AABEIAG0BzAMBEQACEQEDEQH/xAAcAAEAAwEBAQEBAAAAAAAAAAAABgcIBQQDAgH/xABMEAABAgMCBQ8JBgYDAAIDAAABAAIDBBEFBgcSFiExExUiNkFRVGNxc5GistHhCDI1N2FygZOxFEKCobPCFyM0UsHSYnSSU/ElJjP/xAAbAQEBAAIDAQAAAAAAAAAAAAAAAQIFAwQGB//EADgRAQABAgIDDgYBBQEBAAAAAAABAgMEEQUSUQYTFBUhMTIzNFJTcZGxQXKhwdHhgRYiQmHw8WL/2gAMAwEAAhEDEQA/AKRhwzFiBrQXEmgABJJO4BulWZiIznmZPdrHM8GmPkxe5cHCrHfp9YXUq2GsczwaY+TF7leFWO/T6walWw1jmeDTHyYvcnCrHfp9YNSrYaxzPBpj5MXuThVjv0+sGpVsNY5ng0x8mL3Jwqx36fWDUq2GsczwaY+TF7k4VY79PrBqVbDWOZ4NMfJi9ycKsd+n1g1KthrHM8GmPkxe5OFWO/T6walWw1jmeDTHyYvcnCrHfp9YNSrYaxzPBpj5MXuThVjv0+sGpVsNY5ng0x8mL3Jwqx36fWDUq2GsczwaY+TF7k4VY79PrBqVbDWOZ4NMfJi9ycKsd+n1g1KthrHM8GmPkxe5OFWO/T6walWw1jmeDTHyYvcnCrHfp9YNSrYaxzPBpj5MXuThVjv0+sGpVsNY5ng0x8mL3Jwqx36fWDUq2GsczwaY+TF7k4VY79PrBqVbDWOZ4NMfJi9ycKsd+n1g1KthrHM8GmPkxe5OFWO/T6walWw1jmeDTHyYvcnCrHfp9YNSrYaxzPBpj5MXuThVjv0+sGpVsfiLZExBhlzpeO1oFSTCiAAb5NMysYizVOUVxn5watWx4lzIICAgICAgICAgICAgICAgICAgICAgICAgICAgICAgICAgmuB+GIl+YVQDRryKgHOGmh5QtPpyZjB1ZbY93Nh+shoSq8I2JVAqgVQKoFUCqBVAqgVQKoFUCqBVAqgVQKoFUCqBVAqgVQcK/Z//AEyb5l/0Xd0d2u380OO70JZjX0ZrBAQEBAQEBAQEBAQEBAQEBAQEBAQEBAQEBAQEBAQEBAQEE3wObeofuP7BWm072Orzj3c2H6yGgl4VshAQEBAQEBAQEBAQEBAQEBAQEBAQEHCv3tMm+Zf9F3dHdrt/NDiu9CWY19GawQEBAQEBAQEBAQEBAQEBAQEBAQEBAQEBAQEBAQEBAQEBBN8Dm3qH7j+wVptO9jq8493Nh+shoJeFbIQQvCBfo3QjwmiAIuqBxqYhZTFIG8a6Vt9GaLjGxVOtlll8M/u6969vcxyIn/Gt3AW/PP8Aotp/TUeL9P24uFzsWzIx/tUkyJSmOwOpppjAGn5ry9ynUrmnZMw7kTnGb7rBRAQeO2bQbZNkxZh2cQmF9N+gqByk5viuaxam9dptx8ZiGNVWrEyqv+NbuAt+ef8ARel/pqPF+n7dThc7HqsrDF9ttOFCfKCG172sL9WJxQ40xqYorStdK4r253Ut1V03M5iJnLLn+q04rOcphay8y7gghN/7+G6E5ChiXEXVGl1TELKUNKaDVbjRmioxlNVWvllOzP7uvdvb3OWSK/xrdwFvzz/otn/TUeL9P24uFzsdG7uFrXe3IUs+VbDEVwZj6sXUJ0ZsUVqaDTurr4rQG82arkV55Rnll+2VGJ1qojJZ6847bxW3aIsmx4swRUQmOfStK0FQPic3xXNh7M3rtNuPjMQxrq1aZlVn8a3cBb88/wCi9L/TUeL9P26nC52H8a3cBb88/wCif01Hi/T9nC52LGufbhvJd+HNGHqeOXbHGxqYry3TQV0V0Lz+OwvBr82s88suXzjN2bdevTm7S6jkcK/e0yb5l/0Xd0d2u380OK70JZjX0ZrBB37i3eF6r0QpMxDCETG2YaHEYrC7RUf20UROr74GXXdu6+bgzDo5hbJ7DCDf5f3nAgnzdJG9XeTMzVMqogKIsq9uC9t3rkMtETLnlwhnUzDDR/Mpu1Oiu8grVVVi4MsGrb8WbFjOmXQdTeGUEMPrVoNdIppURA7SlvsVoxIVa6m9zK0pXFcRX8kHvuhYovFeWBKF5hiK7FxwMYjMTozV0IO9hPuK2405Bhtjujaq1zqlgZTFIG+a6UEJVUQWldDA8+1rBM5OTH2NhGO0OYCdTAqXuqQGCmcV3M+ZTNM1eW5AgS1pvZLRXxoTTQRHMDC6mkhtTRu9XPyaEHgVVILo3Mm73TJZLQ6tBo6K44sNvK7dPsAJ9iiLZszAHBhQKzU7Ecd3UmshtHxdjV5aBRHqOA2z5lp1Kbma+/AeOgNH1QQq9uBacsWCYsu4TcMZyGtLYoHuZ8b8JJ9iua5qxIoVVEEzwY3Ibfi0IsJ0d0HU2B9QwPrV1KaRRRHTwlYLXXMs5kzDjOjwy7EeTDxSwnzTmJ2JziuahoN1BXKqiD1WVKfb7ThQa4uqRGsrStMZwFabulRE2wn4Om3GloD2zDo2qucKGGGUxQDvmulBX6qiAgIJvgc29Q/cf2CtNp3sdXnHu5sP1kNBLwrZCCm8Pf8AXSvuP7TV6zc30LnnH3dHFc8KqXp3UassX0NA5pnYC+ZYjra/Ofdt6OjD2rhZCAgrzDbav2O7DZcHZR30I/4M2R62IPit9ufsa+Im5PNTH1nk/Lq4qrKnLaotjDENACcxOYVzAVJ5AAT8F7SZiOd0X5VRqG6Fq693ZgTFal7Bje+3Yu6wK+b46xvGIrt7J5PLnj6Nrbq1qYl2F1HIpfD16Wlubd2l67c31dfnHs6OK6UKuXpHVfWUmHSc0yK3zmODm8rTUfmFjXRFdM0zzTGRE5crV8rHE1LNiN817Q4cjhUfkV8xromiqaZ545G3ic4zQjDRaP2O5phjTGiNZ8G7M9kD4rc6As6+K1u7Ez9vu6+Jqyoy2qCXt3QFRojBHtBgcsT9Vy8Fpvttf8e0Njh+rhMVqXO4V+9pk3zL/ou7o7tdv5ocV3oSzGvozWCCdYEfWXLckT9JykpK/wCJeZjb+OsqLi0iS7YsKtKONXh7Dv1a0OA3g72KIzlhNukboXofBaDqL/5kE5/MJ82u6WnY7+g7qsLCJqqKI0XhV9TEL3YH0aojOiyZNA+TbtdmufHYCxlio+8W2GY56J2yqruYJ/WLJ85+0pJKceUp6Wk+bf2gkEKaVVdWCvBsyTlRatpBrIbBqkOFEoAAM+qRK6Buhp5TvLFEbwqYTH3smDLQC5km06M4dFIOZzt5u6G/E56BtFcqqkFxLrvvfeSHKtJa07KI/wDshjzjy5wB7SFEXxfm90vgwsCHJSkNmrFv8qFuNbuxX7rqmvtca58xURnq3LwzV4JgvmZiJFNa0c7Yj3WjYt+ACqufAjOl4oexzmuGcOaSCOQjOEFtYMsLsWQnGytoRDFguIa2M41fDO5jO0vZvk5xpqQKIOph3uI0QDa0s0DOPtDWjMQcwij21oHb9Qd8mIo5ZMlw+TZ6fmuZb21JSVmyVqwb3zNo2RMAEwnFhGYF0FwBa8f8muNK7lGHdURmW81hxLt27FlIvnQ3UrSgc3S1w9hbQqq5aqundjbLLc/D/UCiLm8pX0dJ+/E7LVEUMsmQgICCb4HNvUP3H9grTad7HV5x7ubD9ZDQS8K2QgpvD3/XSvuP7TV6zc30LnnH3dHFc8KqXp3UassX0NA5pnYC+ZYjra/Ofdt6OjD2rhZCAgoLDNav2+9xgg7GAwM9mM7ZOP5gfhXuNA2N7wuvPPVOf8czXYirOvLY/uBuxxal5IjntqyHBcDyxBiU+LXP6FNPYibViIpnlmqPpy++Rh6dapCrQlDIT8SC7zob3MPK00/wtxauRcoiuOaYifVwTGU5LgwFWrq1mRpQnPDcIjfdfmIHI5tfxLym6Oxq3KbsfGMp/j/vo7uFq5JpWivNu2pfD16Wlubd2l67c31dfnHs6OK6UIVciTbaF6YEF3mxCWH8THD/ACtxpG5NvDVVxzxlP1cFuM6ohxo0IwIzmOFHNJaRvEGhHSu3TVFURVHNLDLJozBfP64XHlzusBhH8BoOrin4rwOmLW94yuNvL6/tsrFWdEK/w7WjqtswJYaIcMvOf7zzTpAYP/S3m5yzlarubZy9P/XWxVWdUQiFlWdjXPnJojzXQoTT7XPxndlvStrfvZYq1aj/AOpn0y/Lhpj+yZ8kfXfYNEYI9oMDlifquXgtN9tr/j2hscP1cJitS53Cv3tMm+Zf9F3dHdrt/NDiu9CWY19GawQTrAj6y5bkifpOUlJd7DvPPs3CVBjwnFsSHAhva4bhER5HLyIJzeaTh4V8GbJmC0faGAvY0Zy2K0UiQeR1KCtK7AqIzeRQ0KyV/FBovCr6mIXuwPo1RGdFkyaB8m3a7Nc+OwFjLFR94tsMxz0TtlVXcwT+sWT5z9pSSU48pT0tJ82/tBIIfXBhg5h2VJa72piw2MGPDhRMwaNyI8b/APazk3aBREVwo4SIl8JowYWNDlGHYs0GIRoe/wDw3c5VVV+qog0L5O9jiSuzGnXAB0Z+KDxcP6bMur7oWLFSl87ddeW80ebcSQ95xBnzQxmYPZRoHxqqriqqICDTOCS0Re/BqZaPsywOloldJZi7E/8AhwFd9qxYs22hKOkJ+JBd50N7mO5Wkg/mFVW15Nnp+a5lvbSSXDvLeF91sM0ebh1OJG2ba0x2FoDm/EaN4gHcQTvDVd1l6Lrw7XlaPMNgcSPvwHZ68rCa03AX7yiM/rJk6d2Nsstz8P8AUCiLm8pX0dJ+/E7LVEUMsmQgICCb4HNvUP3H9grTad7HV5x7ubD9ZDQS8K2QgpvD3/XSvuP7TV6zc30LnnH3dHFc8KqXp3UassX0NA5pnYC+ZYjra/Ofdt6OjD2rhZCD4zky2Sk3xXmjWNL3H2NFT+QWdFE11RRHPM5JM5RmypaM460LQiR3edEe555XGv8AlfTLVuLdFNEc0REejUTOc5rpwG2b9nu5FmCM8aJQHfbDFB1nOXkN0V7Wv024/wAY+s/rJ3sLTlTMoFhes3W++0RwGxjNbFGbdIxXdZpPxW70He3zCRHxpzj/AL+JdfEU5VvjgqtXWq+sKpo2LWC78fm9cNWembG+4SrLnp/u9P1mlirVrhoteBbNS+Hr0tLc27tL125vq6/OPZ0cV0oRLBvt5lec/aVtNLdjueThs9OH1wnWdrbfaYaBRr3CK3244qetjD4LHRF7fcJRPxjk9P1kt6nKuU7wDT+NIzMt/a9sQfiGKewOlaXdJayroubYmPTl+7nws8kwrzCDaOul8pmJuCIWN5IewHwOLX4rfaMs71hKKf8AWfryutdqzrmUtjWbrfgPxiKOjRWxT8Xhreq0H4rVU3t80xl8KYy+n5lzauVjzVivSOs0Rgj2gwOWJ+q5eC0322v+PaGxw/VwmK1LncK/e0yb5l/0Xd0d2u380OK70JZjX0ZrBBOsCPrLluSJ+k5SUl1vKI29s/6zO3ESCHzwGXw1hvF9kiOpAmSG59DY2hrvYHeafw7ySS/WHW5+sd4PtkJtIEySTQZmxtLh7Mbzh7cbeSCFYoNF4VfUxC92B9GqIzosmTQPk27XZrnx2AsZYqPvFthmOeidsqq7mCf1iyfOftKSS0ja91pe2r0QJqPR7pdh1OEaUq53/wDQjdpi5tyufcCiKJw03pnLTvC+TjQ3S8GE7YQq+eNyKSMz6jRTM3ONNSbCwrdVRAQaVuv/APjcApcw0cJOM8Ef3Ox3A9JWLFmpZMhAQEF4+TRHNJ6HXN/KcB7Tjg/QdCkpKtMJkEQL/wA60Cg1dx/9bL6lIITvybPT81zLe2kkoThV9Yk5zv7QkELD8n+9gex9kRyCDjPgY1KEHPEh03d14HvoivcJt0jdC9D4LQdRf/MgnOdgT5td0tObf0HdSFhxrsbZZbn4f6gQXN5Svo6T9+J2WqIoZZMhAQEE3wObeofuP7BWm072Orzj3c2H6yGgl4VshBTeHv8ArpX3H9pq9Zub6Fzzj7ujiueFVL07qNWWL6Ggc0zsBfMsR1tfnPu29HRh7VwshBCMMFq63XNewGjo7hDHJ5zvhitp+JbjQdjfcXEzzU8v4dfE1ZUZbWfV7tr1t3VwnSdhXegyuoTBMNlHECFQuJq4jZaC4leWxmhMTiL9V3Wp5Z/3zfD4bHbt4immmIyRvCVe6XvaYL4UOMx8PGDscQ6FrqEaCdBB6VsNE6PvYPWiuYmJy5v/ABxXrkV5ZIVCiGDFDmkhzTUEaQRnB6Vt6oiqMp5nC1TYdoi1rGgzA0RGB9N4kZx8DUfBfNMRZmzdqtz8JmG1oq1qYlUuHr0tLc27tL1G5vq6/OPZ1MV0oRLBvt5lec/aVtNLdjueThs9OE0w82bizMtNAaWmE48hxm9p3QtRubvf212vKftP2c+Kp5YlEsG9vi71uPiuOZ0CIPZjNbjt+JcwD8S2mlsJOJsxTHwqj3yn3cNmvUqz/wBIxChumZgNFXOe4Ab5cTT6lbKqYopznmhxc69cKMmLPwaag3zYepMHI0gf4XitD3JuaQ15551p9XfvxlayUMvbug0Rgj2gwOWJ+q5eC0322v8Aj2hscP1cJitS53Cv3tMm+Zf9F3dHdrt/NDiu9CWY19GawQTrAj6y5bkifpOUlJdbyiNvbP8ArM7cRIIVeDQqjSN1Z6HhVwavlI7h9oY0Me45yIgFYcb40z6K0eNCxRne05CJZdoRIEVpbEhuLHDeINPiPbuqq0FhV9TEL3YH0aojOiyZNA+TbtdmufHYCxlio+8W2GY56J2yqruYJ/WLJ85+0pJKy8ONvR7tXskZqXfivbDf7WubjNqxw+8073IRQgFRHZiw5LDRdPGbSFNQhTffBedw6MeE6mnd9hBADP8Ab9iRrvWq+WmGFkRnQRuOafvNO4VVc5VRBpi4EPXzAkIA850vGg8hq9o+oKxYszqqKqICC+PJqkyyRnI+457IY5WBzj+oFjLFU+ECbE9feciDQY7wORri0H8lYWFg+TZ6fmuZb20klCcKvrEnOd/aEghHLOnn2ZPsjwnFsSG4Pa4bhBqP/pBom80nDwr4M2TMFo+0MBexozlsVo/mQc+46lBWldgVEUDdkUvNLc/D/UCqrm8pX0dJ+/E7LVEUMsmQgICCb4HNvUP3H9grTad7HV5x7ubD9ZDQS8K2QgpvD3/XSvuP7TV6zc30LnnH3dHFc8KqXp3UassX0NA5pnYC+ZYjra/Ofdt6OjD2rhZCCjsONq/arxQ5YHNAZU+/EoT1QzpXstz1jUsVXJ/yn6R+82vxVWdWWxALNkIlqT7IEJuNEecVoqBn5TmC3l67RaomuucohwREzOUJV/C20v8A4GfOg961vHmB70+k/hy8HubHxncG9oSMm+M+A0MhtL3ERYRIa0VJoDU5gsremcHcriimrlmco5JSbFyIzmESW1cS9MCFq/a7svlyc8B+Yf8ACJsh1sdeL3Q2NTERcj/KPrHJ7ZO9has6ctiOYevS0tzbu0u/ub6uvzj2ceK6UIlg328yvOftK2mlux3PJw2enC4sLlm64XJikCroJbFHwNHdRzuheT0Je3vF0x8Ks4/7+Yd3EU50M8r3rXJTgxs7XK+0u0irWOMV3sxBUdbFHxWs0ve3rCVz8Z5PX9ZuSzTnXC2cMe0WJ77O0vL6C7ZT5T7O5iegz6vdte0Rgj2gwOWJ+q5eC0322v8Aj2hscP1cJitS53Cv3tMm+Zf9F3dHdrt/NDiu9CWY19GawQTrAj6y5bkifpOUlJdbyiNvbP8ArM7cRIIVeqqV4NL2G6F6GRyTqL9hGGc7AnzqbpadkOQjdUlJWJh/umI0FlrwACCGtjltKEHNDi13dxhPuKI7mFX1MQvdgfRqDOiyZNA+TbtdmufHYCxlio+8W2GY56J2yqruYJ/WLJ85+0pJKceUp6Wk+bf2gkEKvuzeCPdi2GTUu/Fe3SM+K9p0scN1p7iKEAoNATEvJYZrpB7aQ5iGKV0vgxCPNOjHhu/P2EGkRnu8FiRru2q+WmGFkRnQ4bjmn7zTv/5VVzlVXr5ONvh0tHs9xzg6tDz6QaNePgQ0/iO8sWKvsLV1nXYvfEAb/JjkxYR3KONXM/C40pvYp3VYWELVUQfqFDMaIGtBc5xoAASSTmAA3SSojTlmQhgvwUlz8XVWML3D+6Yiea320Ja2u82qiMxOcXuJJJJzknOSVVXB5Nnp+a5lvbSSUJwq+sSc539oSCEUVVZmAy+GsN4vskR1IEyQM+hsbQ13sDvNP4d5SUl1MJ1z9YsI0rOQ20gTMwwmmhsbHBcPYHecPbjbyiOz5Svo6T9+J2WoKGWTIQEBBN8Dm3qH7j+wVptO9jq8493Nh+shoJeFbIQU3h7/AK6V9x/aavWbm+hc84+7o4rnhVS9O6jVli+hoHNM7AXzLEdbX5z7tvR0Ye1cLJ+XvENhcTQAVJ9gViJmcoRli8NpG2LcjTBr/MiFw9ja7EfBtB8F9KwtmLNmm3HwiGpqq1qplL8Ctnfa736qRmgw3Or/AMnbAfk53QtVugvamF1O9MR6cv4c2Gpzrz2L6XiWxfmJDEWGWkVBFCPYdKsTMTnCSyna0kbNtSLANaw4jmf+XEV/JfTbF2LtumuPjES1NUZTMJfgbtXW++AhE7GOww/ZjDZNPVI/EtTp6xvmF1o56Zz+3/eTmw9WVfm6+Hr0tLc27tLq7m+rr849meK6UIlg328yvOftK2mlux3PJw2enDRtoSgn5CJBd5sRhYeRwp/leBtXJt1xXHPExPo2VUZxkylHgulo7obhRzSWkbxBoR0r6bTVFVMVRzS1OWS1MA1nVmJmaI0BsJp5TjO7LeleZ3SXuSi1H+5+0fd28LTyzKVYY9osT32dpazQXbKfKfZy4noM+r3bXtEYI9oMDlifquXgtN9tr/j2hscP1cJitS53Cv3tMm+Zf9F3dHdrt/NDiu9CWY19GawQTrAj6y5bkifpOUlJdbyiNvbP+sztxEghV6qiC/8AAneNl5bsxbHmaPMNha0H78B2anKwmnsBbTQsWLrYaZX7Dgq1EEuEMwmVOk4pAr+SDNSyZNA+TbtdmufHYCxlio+8W2GY56J2yqruYJ/WLJ85+0pJKceUp6Wk+bf2gkEKaVV2Lq3kj3WthszLuo4ZnNNcV7d1rhug/kaEZwojQE1KyWGS6QiMIhx2aDmMSDEI81390M05CM4oRmiM83hsONdy1Xy0wzEiN6HDcc0/ead//IKqvxYNsRbAteHNQHYsSGajeO4WkbrSCQRvFBpKRn7PwvXXMJ4o8CrodQIsF9POad0bzqUIzEaQIirLw4EZ+z4x+zanNMrmo5sN9Pa15A6HFXNc3Kk8EdrTMYNMqIY3XPiwA0dDi4/AFMzNatyMGstcOEZ+djQ3xWCuOdjChe1tc7nbxNPYKqIrDCxhBN8rREKFVsrCNWA5i92jVCNzNmA3ATvkCqgCqrh8mz0/Ncy3tqSkoThV9Yk5zv7QkEIoqoiNN3AtiHhHuQ2FHNY8BzNUObG1SGQ6HF/Fi598440LFEd8pX0dJ+/E7LUFDLJkICAgm+Bzb1D9x/YK02nex1ece7mw/WQ0EvCtkIOPb115W8MRjpmFqhYCG7OI2gOnzSK6F28NjsRhomLVWWfPzOOu3TX0ocr+GtmcFHzY/wDsuzxzju/9I/DDg9vYlUCEIEFrGijWgNA3gBQfktbVVNUzM88uaIyftYq+M3LNnJR8J4qx7S1wqRVrhQiozjMdxZ0V1UVRVTzxypMZxlKMfw2szgo+bH/2Wx45x3f+kfhw8Ht7HWsG7Mrd5zzLQtT1SmNsojq4taecTTzjoXVxONv4nLfas8ubmZ0W6aOjDrrquQQRu0riSFqTz48WXDojzVztUiippTQCANC2FrSmLtURRRXlEc3JH4cU2bcznMPnK4PbPlJlkVktivY4PadVj5nNNQfO3wsq9L4yumaaq+SeSeSPwkWLcTnEPfbt1pW8EZr5mDqhYKNOPEbQE1+6Rurgw2OxGGiYtVZRPkyrt0188PJZ1w5CzJ5keFL4sRhq12qRjQ8hdQ6d1ct3SmLu0TRXXnE8/JH4SLNuJziEkWvcqMTmD+z52bfFfLAve4ucdUjCriak0DqDOtjb0tjKKYopr5I5I5I/Dhmxbmc5h1rDsOBYEoYUvD1NhdjkYznbIgCtSSdDQutiMTdxFWvdnOeZnRRTTGUP3bNkwbbkTAjsx4ZIJbjObnBqM4IKxsYi5Yr17c5StVMVRlLgfw2szgo+bH/2Xe45x3f+kfhxcHt7Ehsiy4VjSDYEBmJDbWjaudTGJJzkk6SV0b9+5frm5cnOZctNMUxlD2LhZOFfvaZN8y/6Lu6O7Xb+aHFd6Esxr6M1gg91iWvGsK0mzMu/U4rK4rsVrqYwIOZwI0E7iiPreG8ExeSeEeaiarEDQwOxWN2IJIFGgDS4oOYqog9tjWtGsO0mzEvEMOKyuK4AHSKHMaggg6CFEdm3b/2heCzjLzMzqkMkEt1OA3ODUZ2tBTIRlVXfu3fSduxLuhysfUmvdjOGpwnVNKV2QO4ojiTEd0zMOiONXOcXOOYVJNSekoPvZVpRbHtFkxBdiRIZq11GmhpTQag5juoPdeS9E1eiKx83G1UwwQ04kNtATU+aBXRuoOMqog6d37wTN250xpWM6E8jFJAaQRvEEEH4hRHqvJe+bvOxgm4oi4hq06lBa4V0irWg0O9ozBBwlVfaTm3yMyIsJ74b252vY5zXDkIzhRE8s3DLakjDxXRYUam7FhAnpbik/FMjJ6pjDjacWHQCVYd9sJ5PWcR+SZGSE2/eWbvFFDpqYiRaaATRo5GijWnkCDkqqIOvdu881diO+JKxdSc8YrjiQ3VANfvA0zqI8dq2jEte0XzEZ2PEiHGc6jRU8goB8EHkVUQda7t5Jq7M06LKxjCc5uK6gY4EVrnDgRpGmldO+oj73kvhOXohsbNx9VEMkt2EJtCaV80CujdQcJVRAQEE3wObeofuP7BWm072Orzj3c2H6yGgl4VshAQEBAQEBAQEBAQEBAQEBAQEBAQEHCv3tMm+Zf8ARd3R3a7fzQ4rvQlmNfRmsEBAQEBAQEBAQEBAQEBAQEBAQEBAQEBAQEBAQEBAQEBAQSfBvbEKw72wo0YkMo5hcAM2MKAn2Cuda3S2Hrv4Wqijn5J9HJZqimuJld+XdncMg9Lu5eO4rxvhy72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rj3wvlIzt1pmFDmoTnvhOa1oLqkkZhoXawOjsXRiaKqrcxETDC5domiYiVAr3LoCAgICAgICAgICAgICAgICAgICAgICAgICAgICAgICAgIJFkxxvU8VE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364" name="AutoShape 4" descr="data:image/jpeg;base64,/9j/4AAQSkZJRgABAQAAAQABAAD/2wCEAAkGBxQHBhUQExISFBUWGCIYGBYYFBEXGBwZGxoiHh4bIR4hKCggGBwlGxgeITEiJSkrLi4uHCAzODMsNygtMSsBCgoKDQ0OGxAQGiwkHCQtLCwsLCw3NzAsLDIvLS0wNy0sLDUsLCwsLCwuLSwtLCwsLCwsLCwwLCwsLCwsLCwsLP/AABEIAG0BzAMBEQACEQEDEQH/xAAcAAEAAwEBAQEBAAAAAAAAAAAABgcIBQQDAgH/xABMEAABAgMCBQ8JBgYDAAIDAAABAAIDBBEFBgcSFiExExUiNkFRVGNxc5GistHhCDI1N2FygZOxFEKCobPCFyM0UsHSYnSSU/ElJjP/xAAbAQEBAAIDAQAAAAAAAAAAAAAAAQIFAwQGB//EADgRAQABAgIDDgYBBQEBAAAAAAABAgMEEQUSUQYTFBUhMTIzNFJTcZGxQXKhwdHhgRYiQmHw8WL/2gAMAwEAAhEDEQA/AKRhwzFiBrQXEmgABJJO4BulWZiIznmZPdrHM8GmPkxe5cHCrHfp9YXUq2GsczwaY+TF7leFWO/T6walWw1jmeDTHyYvcnCrHfp9YNSrYaxzPBpj5MXuThVjv0+sGpVsNY5ng0x8mL3Jwqx36fWDUq2GsczwaY+TF7k4VY79PrBqVbDWOZ4NMfJi9ycKsd+n1g1KthrHM8GmPkxe5OFWO/T6walWw1jmeDTHyYvcnCrHfp9YNSrYaxzPBpj5MXuThVjv0+sGpVsNY5ng0x8mL3Jwqx36fWDUq2GsczwaY+TF7k4VY79PrBqVbDWOZ4NMfJi9ycKsd+n1g1KthrHM8GmPkxe5OFWO/T6walWw1jmeDTHyYvcnCrHfp9YNSrYaxzPBpj5MXuThVjv0+sGpVsNY5ng0x8mL3Jwqx36fWDUq2GsczwaY+TF7k4VY79PrBqVbDWOZ4NMfJi9ycKsd+n1g1KthrHM8GmPkxe5OFWO/T6walWw1jmeDTHyYvcnCrHfp9YNSrYaxzPBpj5MXuThVjv0+sGpVsfiLZExBhlzpeO1oFSTCiAAb5NMysYizVOUVxn5watWx4lzIICAgICAgICAgICAgICAgICAgICAgICAgICAgICAgICAgmuB+GIl+YVQDRryKgHOGmh5QtPpyZjB1ZbY93Nh+shoSq8I2JVAqgVQKoFUCqBVAqgVQKoFUCqBVAqgVQKoFUCqBVAqgVQcK/Z//AEyb5l/0Xd0d2u380OO70JZjX0ZrBAQEBAQEBAQEBAQEBAQEBAQEBAQEBAQEBAQEBAQEBAQEE3wObeofuP7BWm072Orzj3c2H6yGgl4VshAQEBAQEBAQEBAQEBAQEBAQEBAQEHCv3tMm+Zf9F3dHdrt/NDiu9CWY19GawQEBAQEBAQEBAQEBAQEBAQEBAQEBAQEBAQEBAQEBAQEBBN8Dm3qH7j+wVptO9jq8493Nh+shoJeFbIQQvCBfo3QjwmiAIuqBxqYhZTFIG8a6Vt9GaLjGxVOtlll8M/u6969vcxyIn/Gt3AW/PP8Aotp/TUeL9P24uFzsWzIx/tUkyJSmOwOpppjAGn5ry9ynUrmnZMw7kTnGb7rBRAQeO2bQbZNkxZh2cQmF9N+gqByk5viuaxam9dptx8ZiGNVWrEyqv+NbuAt+ef8ARel/pqPF+n7dThc7HqsrDF9ttOFCfKCG172sL9WJxQ40xqYorStdK4r253Ut1V03M5iJnLLn+q04rOcphay8y7gghN/7+G6E5ChiXEXVGl1TELKUNKaDVbjRmioxlNVWvllOzP7uvdvb3OWSK/xrdwFvzz/otn/TUeL9P24uFzsdG7uFrXe3IUs+VbDEVwZj6sXUJ0ZsUVqaDTurr4rQG82arkV55Rnll+2VGJ1qojJZ6847bxW3aIsmx4swRUQmOfStK0FQPic3xXNh7M3rtNuPjMQxrq1aZlVn8a3cBb88/wCi9L/TUeL9P26nC52H8a3cBb88/wCif01Hi/T9nC52LGufbhvJd+HNGHqeOXbHGxqYry3TQV0V0Lz+OwvBr82s88suXzjN2bdevTm7S6jkcK/e0yb5l/0Xd0d2u380OK70JZjX0ZrBB37i3eF6r0QpMxDCETG2YaHEYrC7RUf20UROr74GXXdu6+bgzDo5hbJ7DCDf5f3nAgnzdJG9XeTMzVMqogKIsq9uC9t3rkMtETLnlwhnUzDDR/Mpu1Oiu8grVVVi4MsGrb8WbFjOmXQdTeGUEMPrVoNdIppURA7SlvsVoxIVa6m9zK0pXFcRX8kHvuhYovFeWBKF5hiK7FxwMYjMTozV0IO9hPuK2405Bhtjujaq1zqlgZTFIG+a6UEJVUQWldDA8+1rBM5OTH2NhGO0OYCdTAqXuqQGCmcV3M+ZTNM1eW5AgS1pvZLRXxoTTQRHMDC6mkhtTRu9XPyaEHgVVILo3Mm73TJZLQ6tBo6K44sNvK7dPsAJ9iiLZszAHBhQKzU7Ecd3UmshtHxdjV5aBRHqOA2z5lp1Kbma+/AeOgNH1QQq9uBacsWCYsu4TcMZyGtLYoHuZ8b8JJ9iua5qxIoVVEEzwY3Ibfi0IsJ0d0HU2B9QwPrV1KaRRRHTwlYLXXMs5kzDjOjwy7EeTDxSwnzTmJ2JziuahoN1BXKqiD1WVKfb7ThQa4uqRGsrStMZwFabulRE2wn4Om3GloD2zDo2qucKGGGUxQDvmulBX6qiAgIJvgc29Q/cf2CtNp3sdXnHu5sP1kNBLwrZCCm8Pf8AXSvuP7TV6zc30LnnH3dHFc8KqXp3UassX0NA5pnYC+ZYjra/Ofdt6OjD2rhZCAgrzDbav2O7DZcHZR30I/4M2R62IPit9ufsa+Im5PNTH1nk/Lq4qrKnLaotjDENACcxOYVzAVJ5AAT8F7SZiOd0X5VRqG6Fq693ZgTFal7Bje+3Yu6wK+b46xvGIrt7J5PLnj6Nrbq1qYl2F1HIpfD16Wlubd2l67c31dfnHs6OK6UKuXpHVfWUmHSc0yK3zmODm8rTUfmFjXRFdM0zzTGRE5crV8rHE1LNiN817Q4cjhUfkV8xromiqaZ545G3ic4zQjDRaP2O5phjTGiNZ8G7M9kD4rc6As6+K1u7Ez9vu6+Jqyoy2qCXt3QFRojBHtBgcsT9Vy8Fpvttf8e0Njh+rhMVqXO4V+9pk3zL/ou7o7tdv5ocV3oSzGvozWCCdYEfWXLckT9JykpK/wCJeZjb+OsqLi0iS7YsKtKONXh7Dv1a0OA3g72KIzlhNukboXofBaDqL/5kE5/MJ82u6WnY7+g7qsLCJqqKI0XhV9TEL3YH0aojOiyZNA+TbtdmufHYCxlio+8W2GY56J2yqruYJ/WLJ85+0pJKceUp6Wk+bf2gkEKaVVdWCvBsyTlRatpBrIbBqkOFEoAAM+qRK6Buhp5TvLFEbwqYTH3smDLQC5km06M4dFIOZzt5u6G/E56BtFcqqkFxLrvvfeSHKtJa07KI/wDshjzjy5wB7SFEXxfm90vgwsCHJSkNmrFv8qFuNbuxX7rqmvtca58xURnq3LwzV4JgvmZiJFNa0c7Yj3WjYt+ACqufAjOl4oexzmuGcOaSCOQjOEFtYMsLsWQnGytoRDFguIa2M41fDO5jO0vZvk5xpqQKIOph3uI0QDa0s0DOPtDWjMQcwij21oHb9Qd8mIo5ZMlw+TZ6fmuZb21JSVmyVqwb3zNo2RMAEwnFhGYF0FwBa8f8muNK7lGHdURmW81hxLt27FlIvnQ3UrSgc3S1w9hbQqq5aqundjbLLc/D/UCiLm8pX0dJ+/E7LVEUMsmQgICCb4HNvUP3H9grTad7HV5x7ubD9ZDQS8K2QgpvD3/XSvuP7TV6zc30LnnH3dHFc8KqXp3UassX0NA5pnYC+ZYjra/Ofdt6OjD2rhZCAgoLDNav2+9xgg7GAwM9mM7ZOP5gfhXuNA2N7wuvPPVOf8czXYirOvLY/uBuxxal5IjntqyHBcDyxBiU+LXP6FNPYibViIpnlmqPpy++Rh6dapCrQlDIT8SC7zob3MPK00/wtxauRcoiuOaYifVwTGU5LgwFWrq1mRpQnPDcIjfdfmIHI5tfxLym6Oxq3KbsfGMp/j/vo7uFq5JpWivNu2pfD16Wlubd2l67c31dfnHs6OK6UIVciTbaF6YEF3mxCWH8THD/ACtxpG5NvDVVxzxlP1cFuM6ohxo0IwIzmOFHNJaRvEGhHSu3TVFURVHNLDLJozBfP64XHlzusBhH8BoOrin4rwOmLW94yuNvL6/tsrFWdEK/w7WjqtswJYaIcMvOf7zzTpAYP/S3m5yzlarubZy9P/XWxVWdUQiFlWdjXPnJojzXQoTT7XPxndlvStrfvZYq1aj/AOpn0y/Lhpj+yZ8kfXfYNEYI9oMDlifquXgtN9tr/j2hscP1cJitS53Cv3tMm+Zf9F3dHdrt/NDiu9CWY19GawQTrAj6y5bkifpOUlJd7DvPPs3CVBjwnFsSHAhva4bhER5HLyIJzeaTh4V8GbJmC0faGAvY0Zy2K0UiQeR1KCtK7AqIzeRQ0KyV/FBovCr6mIXuwPo1RGdFkyaB8m3a7Nc+OwFjLFR94tsMxz0TtlVXcwT+sWT5z9pSSU48pT0tJ82/tBIIfXBhg5h2VJa72piw2MGPDhRMwaNyI8b/APazk3aBREVwo4SIl8JowYWNDlGHYs0GIRoe/wDw3c5VVV+qog0L5O9jiSuzGnXAB0Z+KDxcP6bMur7oWLFSl87ddeW80ebcSQ95xBnzQxmYPZRoHxqqriqqICDTOCS0Re/BqZaPsywOloldJZi7E/8AhwFd9qxYs22hKOkJ+JBd50N7mO5Wkg/mFVW15Nnp+a5lvbSSXDvLeF91sM0ebh1OJG2ba0x2FoDm/EaN4gHcQTvDVd1l6Lrw7XlaPMNgcSPvwHZ68rCa03AX7yiM/rJk6d2Nsstz8P8AUCiLm8pX0dJ+/E7LVEUMsmQgICCb4HNvUP3H9grTad7HV5x7ubD9ZDQS8K2QgpvD3/XSvuP7TV6zc30LnnH3dHFc8KqXp3UassX0NA5pnYC+ZYjra/Ofdt6OjD2rhZCD4zky2Sk3xXmjWNL3H2NFT+QWdFE11RRHPM5JM5RmypaM460LQiR3edEe555XGv8AlfTLVuLdFNEc0REejUTOc5rpwG2b9nu5FmCM8aJQHfbDFB1nOXkN0V7Wv024/wAY+s/rJ3sLTlTMoFhes3W++0RwGxjNbFGbdIxXdZpPxW70He3zCRHxpzj/AL+JdfEU5VvjgqtXWq+sKpo2LWC78fm9cNWembG+4SrLnp/u9P1mlirVrhoteBbNS+Hr0tLc27tL125vq6/OPZ0cV0oRLBvt5lec/aVtNLdjueThs9OH1wnWdrbfaYaBRr3CK3244qetjD4LHRF7fcJRPxjk9P1kt6nKuU7wDT+NIzMt/a9sQfiGKewOlaXdJayroubYmPTl+7nws8kwrzCDaOul8pmJuCIWN5IewHwOLX4rfaMs71hKKf8AWfryutdqzrmUtjWbrfgPxiKOjRWxT8Xhreq0H4rVU3t80xl8KYy+n5lzauVjzVivSOs0Rgj2gwOWJ+q5eC0322v+PaGxw/VwmK1LncK/e0yb5l/0Xd0d2u380OK70JZjX0ZrBBOsCPrLluSJ+k5SUl1vKI29s/6zO3ESCHzwGXw1hvF9kiOpAmSG59DY2hrvYHeafw7ySS/WHW5+sd4PtkJtIEySTQZmxtLh7Mbzh7cbeSCFYoNF4VfUxC92B9GqIzosmTQPk27XZrnx2AsZYqPvFthmOeidsqq7mCf1iyfOftKSS0ja91pe2r0QJqPR7pdh1OEaUq53/wDQjdpi5tyufcCiKJw03pnLTvC+TjQ3S8GE7YQq+eNyKSMz6jRTM3ONNSbCwrdVRAQaVuv/APjcApcw0cJOM8Ef3Ox3A9JWLFmpZMhAQEF4+TRHNJ6HXN/KcB7Tjg/QdCkpKtMJkEQL/wA60Cg1dx/9bL6lIITvybPT81zLe2kkoThV9Yk5zv7QkELD8n+9gex9kRyCDjPgY1KEHPEh03d14HvoivcJt0jdC9D4LQdRf/MgnOdgT5td0tObf0HdSFhxrsbZZbn4f6gQXN5Svo6T9+J2WqIoZZMhAQEE3wObeofuP7BWm072Orzj3c2H6yGgl4VshBTeHv8ArpX3H9pq9Zub6Fzzj7ujiueFVL07qNWWL6Ggc0zsBfMsR1tfnPu29HRh7VwshBCMMFq63XNewGjo7hDHJ5zvhitp+JbjQdjfcXEzzU8v4dfE1ZUZbWfV7tr1t3VwnSdhXegyuoTBMNlHECFQuJq4jZaC4leWxmhMTiL9V3Wp5Z/3zfD4bHbt4immmIyRvCVe6XvaYL4UOMx8PGDscQ6FrqEaCdBB6VsNE6PvYPWiuYmJy5v/ABxXrkV5ZIVCiGDFDmkhzTUEaQRnB6Vt6oiqMp5nC1TYdoi1rGgzA0RGB9N4kZx8DUfBfNMRZmzdqtz8JmG1oq1qYlUuHr0tLc27tL1G5vq6/OPZ1MV0oRLBvt5lec/aVtNLdjueThs9OE0w82bizMtNAaWmE48hxm9p3QtRubvf212vKftP2c+Kp5YlEsG9vi71uPiuOZ0CIPZjNbjt+JcwD8S2mlsJOJsxTHwqj3yn3cNmvUqz/wBIxChumZgNFXOe4Ab5cTT6lbKqYopznmhxc69cKMmLPwaag3zYepMHI0gf4XitD3JuaQ15551p9XfvxlayUMvbug0Rgj2gwOWJ+q5eC0322v8Aj2hscP1cJitS53Cv3tMm+Zf9F3dHdrt/NDiu9CWY19GawQTrAj6y5bkifpOUlJdbyiNvbP8ArM7cRIIVeDQqjSN1Z6HhVwavlI7h9oY0Me45yIgFYcb40z6K0eNCxRne05CJZdoRIEVpbEhuLHDeINPiPbuqq0FhV9TEL3YH0aojOiyZNA+TbtdmufHYCxlio+8W2GY56J2yqruYJ/WLJ85+0pJKy8ONvR7tXskZqXfivbDf7WubjNqxw+8073IRQgFRHZiw5LDRdPGbSFNQhTffBedw6MeE6mnd9hBADP8Ab9iRrvWq+WmGFkRnQRuOafvNO4VVc5VRBpi4EPXzAkIA850vGg8hq9o+oKxYszqqKqICC+PJqkyyRnI+457IY5WBzj+oFjLFU+ECbE9feciDQY7wORri0H8lYWFg+TZ6fmuZb20klCcKvrEnOd/aEghHLOnn2ZPsjwnFsSG4Pa4bhBqP/pBom80nDwr4M2TMFo+0MBexozlsVo/mQc+46lBWldgVEUDdkUvNLc/D/UCqrm8pX0dJ+/E7LVEUMsmQgICCb4HNvUP3H9grTad7HV5x7ubD9ZDQS8K2QgpvD3/XSvuP7TV6zc30LnnH3dHFc8KqXp3UassX0NA5pnYC+ZYjra/Ofdt6OjD2rhZCCjsONq/arxQ5YHNAZU+/EoT1QzpXstz1jUsVXJ/yn6R+82vxVWdWWxALNkIlqT7IEJuNEecVoqBn5TmC3l67RaomuucohwREzOUJV/C20v8A4GfOg961vHmB70+k/hy8HubHxncG9oSMm+M+A0MhtL3ERYRIa0VJoDU5gsremcHcriimrlmco5JSbFyIzmESW1cS9MCFq/a7svlyc8B+Yf8ACJsh1sdeL3Q2NTERcj/KPrHJ7ZO9has6ctiOYevS0tzbu0u/ub6uvzj2ceK6UIlg328yvOftK2mlux3PJw2enC4sLlm64XJikCroJbFHwNHdRzuheT0Je3vF0x8Ks4/7+Yd3EU50M8r3rXJTgxs7XK+0u0irWOMV3sxBUdbFHxWs0ve3rCVz8Z5PX9ZuSzTnXC2cMe0WJ77O0vL6C7ZT5T7O5iegz6vdte0Rgj2gwOWJ+q5eC0322v8Aj2hscP1cJitS53Cv3tMm+Zf9F3dHdrt/NDiu9CWY19GawQTrAj6y5bkifpOUlJdbyiNvbP8ArM7cRIIVeqqV4NL2G6F6GRyTqL9hGGc7AnzqbpadkOQjdUlJWJh/umI0FlrwACCGtjltKEHNDi13dxhPuKI7mFX1MQvdgfRqDOiyZNA+TbtdmufHYCxlio+8W2GY56J2yqruYJ/WLJ85+0pJKceUp6Wk+bf2gkEKvuzeCPdi2GTUu/Fe3SM+K9p0scN1p7iKEAoNATEvJYZrpB7aQ5iGKV0vgxCPNOjHhu/P2EGkRnu8FiRru2q+WmGFkRnQ4bjmn7zTv/5VVzlVXr5ONvh0tHs9xzg6tDz6QaNePgQ0/iO8sWKvsLV1nXYvfEAb/JjkxYR3KONXM/C40pvYp3VYWELVUQfqFDMaIGtBc5xoAASSTmAA3SSojTlmQhgvwUlz8XVWML3D+6Yiea320Ja2u82qiMxOcXuJJJJzknOSVVXB5Nnp+a5lvbSSUJwq+sSc539oSCEUVVZmAy+GsN4vskR1IEyQM+hsbQ13sDvNP4d5SUl1MJ1z9YsI0rOQ20gTMwwmmhsbHBcPYHecPbjbyiOz5Svo6T9+J2WoKGWTIQEBBN8Dm3qH7j+wVptO9jq8493Nh+shoJeFbIQU3h7/AK6V9x/aavWbm+hc84+7o4rnhVS9O6jVli+hoHNM7AXzLEdbX5z7tvR0Ye1cLJ+XvENhcTQAVJ9gViJmcoRli8NpG2LcjTBr/MiFw9ja7EfBtB8F9KwtmLNmm3HwiGpqq1qplL8Ctnfa736qRmgw3Or/AMnbAfk53QtVugvamF1O9MR6cv4c2Gpzrz2L6XiWxfmJDEWGWkVBFCPYdKsTMTnCSyna0kbNtSLANaw4jmf+XEV/JfTbF2LtumuPjES1NUZTMJfgbtXW++AhE7GOww/ZjDZNPVI/EtTp6xvmF1o56Zz+3/eTmw9WVfm6+Hr0tLc27tLq7m+rr849meK6UIlg328yvOftK2mlux3PJw2enDRtoSgn5CJBd5sRhYeRwp/leBtXJt1xXHPExPo2VUZxkylHgulo7obhRzSWkbxBoR0r6bTVFVMVRzS1OWS1MA1nVmJmaI0BsJp5TjO7LeleZ3SXuSi1H+5+0fd28LTyzKVYY9osT32dpazQXbKfKfZy4noM+r3bXtEYI9oMDlifquXgtN9tr/j2hscP1cJitS53Cv3tMm+Zf9F3dHdrt/NDiu9CWY19GawQTrAj6y5bkifpOUlJdbyiNvbP+sztxEghV6qiC/8AAneNl5bsxbHmaPMNha0H78B2anKwmnsBbTQsWLrYaZX7Dgq1EEuEMwmVOk4pAr+SDNSyZNA+TbtdmufHYCxlio+8W2GY56J2yqruYJ/WLJ85+0pJKceUp6Wk+bf2gkEKaVV2Lq3kj3WthszLuo4ZnNNcV7d1rhug/kaEZwojQE1KyWGS6QiMIhx2aDmMSDEI81390M05CM4oRmiM83hsONdy1Xy0wzEiN6HDcc0/ead//IKqvxYNsRbAteHNQHYsSGajeO4WkbrSCQRvFBpKRn7PwvXXMJ4o8CrodQIsF9POad0bzqUIzEaQIirLw4EZ+z4x+zanNMrmo5sN9Pa15A6HFXNc3Kk8EdrTMYNMqIY3XPiwA0dDi4/AFMzNatyMGstcOEZ+djQ3xWCuOdjChe1tc7nbxNPYKqIrDCxhBN8rREKFVsrCNWA5i92jVCNzNmA3ATvkCqgCqrh8mz0/Ncy3tqSkoThV9Yk5zv7QkEIoqoiNN3AtiHhHuQ2FHNY8BzNUObG1SGQ6HF/Fi598440LFEd8pX0dJ+/E7LUFDLJkICAgm+Bzb1D9x/YK02nex1ece7mw/WQ0EvCtkIOPb115W8MRjpmFqhYCG7OI2gOnzSK6F28NjsRhomLVWWfPzOOu3TX0ocr+GtmcFHzY/wDsuzxzju/9I/DDg9vYlUCEIEFrGijWgNA3gBQfktbVVNUzM88uaIyftYq+M3LNnJR8J4qx7S1wqRVrhQiozjMdxZ0V1UVRVTzxypMZxlKMfw2szgo+bH/2Wx45x3f+kfhw8Ht7HWsG7Mrd5zzLQtT1SmNsojq4taecTTzjoXVxONv4nLfas8ubmZ0W6aOjDrrquQQRu0riSFqTz48WXDojzVztUiippTQCANC2FrSmLtURRRXlEc3JH4cU2bcznMPnK4PbPlJlkVktivY4PadVj5nNNQfO3wsq9L4yumaaq+SeSeSPwkWLcTnEPfbt1pW8EZr5mDqhYKNOPEbQE1+6Rurgw2OxGGiYtVZRPkyrt0188PJZ1w5CzJ5keFL4sRhq12qRjQ8hdQ6d1ct3SmLu0TRXXnE8/JH4SLNuJziEkWvcqMTmD+z52bfFfLAve4ucdUjCriak0DqDOtjb0tjKKYopr5I5I5I/Dhmxbmc5h1rDsOBYEoYUvD1NhdjkYznbIgCtSSdDQutiMTdxFWvdnOeZnRRTTGUP3bNkwbbkTAjsx4ZIJbjObnBqM4IKxsYi5Yr17c5StVMVRlLgfw2szgo+bH/2Xe45x3f+kfhxcHt7Ehsiy4VjSDYEBmJDbWjaudTGJJzkk6SV0b9+5frm5cnOZctNMUxlD2LhZOFfvaZN8y/6Lu6O7Xb+aHFd6Esxr6M1gg91iWvGsK0mzMu/U4rK4rsVrqYwIOZwI0E7iiPreG8ExeSeEeaiarEDQwOxWN2IJIFGgDS4oOYqog9tjWtGsO0mzEvEMOKyuK4AHSKHMaggg6CFEdm3b/2heCzjLzMzqkMkEt1OA3ODUZ2tBTIRlVXfu3fSduxLuhysfUmvdjOGpwnVNKV2QO4ojiTEd0zMOiONXOcXOOYVJNSekoPvZVpRbHtFkxBdiRIZq11GmhpTQag5juoPdeS9E1eiKx83G1UwwQ04kNtATU+aBXRuoOMqog6d37wTN250xpWM6E8jFJAaQRvEEEH4hRHqvJe+bvOxgm4oi4hq06lBa4V0irWg0O9ozBBwlVfaTm3yMyIsJ74b252vY5zXDkIzhRE8s3DLakjDxXRYUam7FhAnpbik/FMjJ6pjDjacWHQCVYd9sJ5PWcR+SZGSE2/eWbvFFDpqYiRaaATRo5GijWnkCDkqqIOvdu881diO+JKxdSc8YrjiQ3VANfvA0zqI8dq2jEte0XzEZ2PEiHGc6jRU8goB8EHkVUQda7t5Jq7M06LKxjCc5uK6gY4EVrnDgRpGmldO+oj73kvhOXohsbNx9VEMkt2EJtCaV80CujdQcJVRAQEE3wObeofuP7BWm072Orzj3c2H6yGgl4VshAQEBAQEBAQEBAQEBAQEBAQEBAQEHCv3tMm+Zf8ARd3R3a7fzQ4rvQlmNfRmsEBAQEBAQEBAQEBAQEBAQEBAQEBAQEBAQEBAQEBAQEBAQSfBvbEKw72wo0YkMo5hcAM2MKAn2Cuda3S2Hrv4Wqijn5J9HJZqimuJld+XdncMg9Lu5eO4rxvhy72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pl3Z3DIPS7uTivG+HJv9vaZd2dwyD0u7k4rxvhyb/b2mXdncMg9Lu5OK8b4cm/29rj3wvlIzt1pmFDmoTnvhOa1oLqkkZhoXawOjsXRiaKqrcxETDC5domiYiVAr3LoCAgICAgICAgICAgICAgICAgICAgICAgICAgICAgICAgIJFkxxvU8VE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BkxxvU8UDJjjep4oGTHG9TxQMmON6nigZMcb1PFAyY43qeKD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366" name="AutoShape 6" descr="data:image/jpeg;base64,/9j/4AAQSkZJRgABAQAAAQABAAD/2wCEAAkGBggGEREIBxMVFBUQGRkUFhcTGBoXFBYdFhQWGhsbFBMfGygeGBokGRUYIC8gJSkqLCwuHCIxNTwqNSYtOCkBCQoKDgwOGg8PGTUkHiE1NS80MDU1MzU1KissNTUsNSouKSw0KjIsLDEqNDAvKSwsLCw0NCw1MjQpKTUsKiosKf/AABEIAKEBOQMBIgACEQEDEQH/xAAcAAEBAAMBAQEBAAAAAAAAAAAABgQFBwMIAQL/xABMEAABAwMBAwcFCwgIBwAAAAABAAIDBAURBhIhMQcTQVFUk+IWFyIyYRQ0NWNxc4GRlLLRFSNCYnJ0obMzgoOSsbTB0iQ2UlPC0/D/xAAaAQEAAgMBAAAAAAAAAAAAAAAAAwQBAgUG/8QANREBAAECAggDBQcFAAAAAAAAAAECAwQRBRITFCFRUrExQZEVMlNhoSI0coGSwfAjQkRxgv/aAAwDAQACEQMRAD8A4aiIgIiICIiAiIgIiICIiAiIgIiICIiAiIgIiICIiAiIgIiICIiAiIgIiICIiAiIgIiICIiAiIgIiICIiAiIgIiICIiAiIgIiICIiAiIgIiICIiAiIgIiICIiAiIgIiICIiAiIgIiICIiAiIgIiICIiAiIgIiICIiAiIgIiICIiAiIgIiICIiAiIgIiICIiAiIgIiICIiAiIgIiICIiAiIgIiICIiAiIgIiICIiAiIgIiICIiAiIgIiICIiAiIgIiICIiAiIgIiICr+SqkgrblFDVMa9pa/c8Aj1eoqQVpyQ/CkX7L/uqjpGZjCXZjpnskte/DrWopNJ6VYye6wRNbIdlpbCHbwM8AOpe1hh0xqSL3dbaeJzMluTC1pyMZ3Ee1SvLv72pfnT9wrZ8jHwY352T/ReErsZaOpxWvVrTOXjw83Sir+rqZcFR5NWXs0Hdt/BeNZZbBQRvqqmngayNpc4823cAMnoW4XPuWi+fk+iFvjOHVTgDjjsMIc76M7I+n2qhg6buJv0WoqnjPPy8/okrmKKZqyetp1PoK9TMoKOKIvlOGh0AaCcE8S3HQqryZsvZoO7b+C+b3UFdp8Ud2du5389F1/m3jBP0gFfS9ouUV3gir4PVla14+kLqaYwe6aldmuZpnOPHzj0/kIbFevnFUcUNPrXk9p3OhliYCwlpHufpBwf0VT2m36bvcLK+gghcyQZaeaaOBwcjG45C+eqqhkuNXPTwesXyuA69kucf4ArqfJHqAUtrqvdLt1G58g9jCzawB0+kHn6Vd0loyLGHi5ZrqmrhnEz5Tw7o7V7Wqyqhn12r+T+3SSUlRHHtROLHYp8jLTg4IbgrfWKn0zqOEV9tp4nMcSATE1py04O4hfO9RDUVbH3Wbg+TZJ6C5wc84+Td9YXdOR34Li/bk++VppXR1GEw0XKK6pqziJ48PBmzdmuvKYRGu9VSadr57bQ01JsR7GztQNLvSiY45PyuKy7hHqi22+PU8tNbjBKGOGzCC9ofwLm4xx9pUxysfC1X/Zf5eJdftlTT11utGlq04ZdKKeNp6pI2QuYflALj8oA6V6PBYOzXhrdVVOczTE/RVuV1RXMRPm475xa3s1F9nb+KpNFzak126WO0U1uHMBrnmSANb6RIABAO87J+pc4r6Ka2yyUdUMPicWOHtacH/Bd95LI26RhtlsaPz12MlVKekRsi9Bp6RnaaR0eure44fohptKuaGs9ZqC9mtjpae3ZoGudLtQgZDS4HY3b/VPUp7zi1vZqL7O38VZ8nf8ASak+al+/KuQpuOH6INpVzdFsF3vuo4qytoqe3htDHz0u3AAS3Dj6AwcnDD1LS+cWt7NRfZ2/iqHkn+D9Q/uZ/lzqJ0pp+bVFZT2mDdzzwHEfot4ud9DQSm44fog2lXNd1ztUW63x6nqKS3iCXGBzLecAecNc5vDB3Y39IWms2r7nfJ47dTU9va6U7IMkDWsG4n0ndA3LoMWpaPWVxuOiXnFPND7mph0NkpQ4gtHXtbTs537A61wyrpZaGR9LOMOjc5jh1FpIP8Qm44fog2lXN2nyS1Z1WT6m/wC1fo0frBwc+NlmdsAuIa0E4HsDVxe30FTdZWUVCwvklcGsa3iSf/uK6Pqivp+TSj8krM5prJwDXzs3kZGRCx3EAZ9m72u3Nxw/RBtKuab84tb2ai+zt/FVOkBqPWkctXbYbYxsJDXGaIM3kZ6juXK11DQsbpdP3pkYJJMeABk8WdCbjh+iDaVc2/8AJLVnVZPqb/tUpqu9XnSEzaGuhtr3OYJAYYmvbguc3BO7flh3fIoX8l13/ak/uO/BY8kb4iWSAgjiCMEfKE3HD9EG0q5unaVk1PrGKprLVSUGzSjLtuAAvJa52zHgEOdhvD9ZvWpvzi1vZqL7O38VdPv55LGWO0D0Tn3XWt4O/PDY2XY47LXP3HdljepQ3KnpxmmblPTwACKXE8WOGxJk7vYHBw3dSbjh+iDaVc1tY7Nqm/U0V2p4rQyObOzzrAx24kcNnHR1rNGkdXv3RMsrj0NaAXH2AbKm9Yf8uWb5yT/yXNoec2m8xnayNnZztZzuxjfnKbjh+iDaVc1ve9UX7TkzqC70NJFI3fsup27weBa4HDhuO8EjcszVl4vujaj8lXKmt5k2Wv8AzcAc3Ds43nBzu6ll8rz5xRWaG876xsJMmfXDTs45z9bcOO/IPtWy5TZqSn1PRy3DHNt9zF+eAAkO8+xNxw/RBtKub+6K0ag5qOsvrbRQtlGWCrYyOQ7sj0CRjd0ZyOkLX6lj1PpqJtzfS26enfwmpomyRjPDaI4A9fDfxWHyvaT1LNcKm6SQyywyEGKSMGRgZsjA3Z2APaBv6879JoPXEel21dvuTHy01bE6N8bTjDiNkObk4B2SQSN/DqTccP0QbSrmzNP63qLnVU9HPTUezLI1rsU7QcEjODlTGqYmQV1ZFEAGtnmAA3AASuAAHQML10d7/pPnWfeC/nV3v+u/eJv5rlDatUWsVNNEZRq/uzNU1UcebUIiLpIhWnJD8KRfsv8AuqLVpyQ/CkX7L/uqhpL7pd/DPZJa9+Fty7+9qX50/cK2fIx8GN+dk/0WTylaOrtZQw09udG0xvLzzpcBgtI3Yad6zeT7TdXpSjFuryxzg9zsxkluHYxvLQc7upeGrxFqdFU2db7Wtnl8uLoxTO2mrLgpF888q19/LVxkYw5ZTgQtwcj0d7j8u0SPoHUvoCuFQY5BRbPOFrtjbzsbWDs7WATjOMrl2lOSC4W+sZcL++GVjdpxa1znl7iDjaDmAEZOePQs6Ev2MNVXiLs8YjhHnP8APD8zEU1VxFNKK1TrSl1FS0tshpuZ9xgNY/nNsluwGkEbDeJa05z0e1dC5D757qppbVId9O7aaP1JN/39o/SrGv0hZa2KSm9zxN5xpbtBjQW5BGQccRxUNoXkz1DpKsjuMstOY8OZI1jnlzmuHAZjHBwa7iOCu3cbg8Vgq7NMakxxiJnPOfHhPz4+qOLddFyKvFH6LY2W+sY8ZDpZwR1gslytXU1NTpJ1xsLc4lIiJO44ZIHNP9Zv3l0XTnJdeLRcmXqofAY2ySPIa55fh4eBuMYGfSHSv3XnJTcdS1jrlbHwsbI1u0JC8O2huJwGEHcB0roxpPCzioiquJomiP1UzMwi2Nepwjjn9JSF9tf5NsdA8jDp5nyn25aQ3P8AVAXSeR34Li/bk++V+a80HVaipKW12gxsFMR/SFwGy2PZABDSVtdA6dqtLUbLbXFjntc92YyS30nZG8gH+C4+Nx1vEYDLW+1Nczl8uKe3bmm58snGOVj4Wq/7L/LxKm13XyWu36WroPWhjfI35WGmcP4hTPKx8LVf9l/l4l+6w1fR6gobTbKVrw+gjfHIXAbLi4RY2ME5H5s8cL2mj/ulr8NPaFC779X+1fqvRcesLvQXOgyae8NZM4tB9AxsHOgkerlrenftE9Sz7DqRuo9VB1Puhp2yU8IHq7MTHDI6ME5I9mFO6O5WItNWyWzyxudOznBSvABbGJh6WSTkekSdwU3ydaopdI3CO7XAPcxgeCGYLjtNI6SOkq6jW/JuedqNRUse98kU2y3pOJHg4Hyub9a5CqOy60qtN3F1/tg9Z7yWP4PZI4ksfj2Y+QgHoVHW1HJhfXmuf7tpHPJc+KNrHsyTkhhJOB7NwGehB7clILbdqGR24GkIyeGebm3Z6943e1ZXI9S0enqet1feZDCxo9ywvDS5wdJjacxg9Yj0QMZ/S4YWl1Jrizw0TtM6MhkiglcHzyTHMsxaQQDgnDfRG72e0rD1PrGiuNut+nLSx7WUoMkxeAA+Vw3luCcgFz+OOKDd2Wn5PbDUQ3OkudTtwPDx/wAMcHB4HdwI3fSsflqs0ENYy/247UFzY2dhHDa2RtfJnc7fvyT1Lni6fpLlH09TUdHbdVQSyut8zpYSwNc0gh2A4Fw4OdnH6rUHra4YeSKi/K9aGuuVa3/h43caaNwIMjhxDjv+rH/UuXzzyVTnTzkuc8lzieJJOSSeskrqF+1Zyc6mnfcrtFcXyScTtRgADg1rQ7AaOr/Va/3byU9nuH99n+5BztdZ5M7rWWSx3i4W5+xJE5ha4AHB9EcCCOBXKH7OTscOjPHHtVdp3WNFaLVcbFO15krC0sc0DYGyW52jnPR1IPTzy647Y7u4f/Wvbk+pKnXl5jq7w7nNkmpqHkAejEBgkAAetsDh0qFVlpnWNFpm219DStf7rrcR85gbDIxjIztZ2iC/eBxI6kFHquTQGq6ua611zqA6Q7mtp3FrA0Ya1pxwAH07z0rM5RIbTqqz096sszqg2xzaWSR7Cx7muDQC9p3+s5uDwyT7Vx5WXJ/rOj04ystl6Y+SmrYixzY8Fwfwa4ZIA3E7+Pq9SC1n1ZWaS0/ap6FkLzI+RpE8YkAwXH0RncVO0fLjfaR7ZhT0fonJ2YdhxHSA8HIyOlaq/wCr6G52qg0/TtfzlI97nOcAGEOzjZ3k53qPQdA5X7XSial1FQukLbrEKjZlcXuYdlmRtkk4w4DZycYIG7AG/wCVnTtTqzUMdnoi1r5oW4L/AFRsskec/Q0qO1Tqugv9vtlvjbIJ6Fjo3l2NgtPDZOc/ojiFma35RG3i6x6msAfGYWx7POgZyzOcgEgtIOOPWgwKHXGq9ESPttFVPAgeYyxx24/QcQQ1rgdkEg8MK40vq6i5WZjp7VlLDzs7X81UwN2JWOa0uGePQCd5xuwQcrU3TUPJ5rV5uF5iqqOpkwZXQYfE4gAEhpO7OOodfEr9otbaP0LHK7RkU8tVIwxioqdkBmeljAfkOMb8DKCS0/ROt11ho3kEw1AjJHA7EmzkfUsXV3v+u/eJv5rl/ekXukuFI95JJmYSTvJJdxJXnq73/XfvE381ypf5f/P7pP7PzalERXUYtjYL9V6bmbcKDZ22ggbQyN4wdy1yLWuimumaaoziWYnKc4Xnnp1P8T3fiTz0an+J7vxKDRUPZeD+FHok21zmvPPTqf4nu/Enno1P8T3fiUGiey8H8KPQ21zmvPPTqf4nu/Enno1P8T3fiUGiey8H8KPQ21zmvPPRqf4nu/Ennp1P8T3fiUGiey8H8KPQ21zmvPPTqf4nu/Ennp1P8T3fiUGiey8H8KPQ21zmr6jlMudW4z1MFG9zsbTn07XOOAAMuO87gB9C8/OJW9lofszFKIpIwGGjhFEMbSrmq/OJW9lofszF4Ta3lqDtzUdCTw97gf4FTaLaMFYjwpY2lXNQ+WJ7FQ9x4k8sT2Kh7jxKeRbbpZ6e5r1KHyxPYqHuPEnliexUPceJTyJulnp7mvUofLE9ioe48SeWJ7FQ9x4lPIm6Wenua9Sh8sT2Kh7jxJ5YnsVD3HiU8ibpZ6e5r1KHyxPYqHuPEnliexUPceJTyJulnp7mvUofLE9ioe48SeWJ7FQ9x4lPIm6Wenua9Sh8sT2Kh7jxJ5YnsVD3HiU8ibpZ6e5r1KHyxPYqHuPEnliexUPceJTyJulnp7mvUofLE9ioe48SeWJ7FQ9x4lPIm6Wenua9Sh8sT2Kh7jxJ5YnsVD3HiU8ibpZ6e5r1KWDXEtK5s0FJRNcwgtcIMEEcCDtLQ19bLcZZKyoxtTPdI7G4Ze4uOB1ZK8EW9uxbtzrUxxYmqZ8RERTNRERAREQEREBERAREQEREBERAREQEREBERAREQEREBERAREQEREBERAREQEREBERAREQEREBERAREQEREBERAREQEREBERAREQEREBERAREQEREBERAREQEREBERAREQEREBERAREQEREBERAREQEREBERAREQEREBERAREQEREBERAREQEREBERAREQEREBERAREQEREBERAREQEREBERAREQEREBERAREQEREBERAREQEREBERAREQEREBERAREQEREBERAREQf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15"/>
          <p:cNvGrpSpPr/>
          <p:nvPr/>
        </p:nvGrpSpPr>
        <p:grpSpPr>
          <a:xfrm>
            <a:off x="457200" y="762000"/>
            <a:ext cx="3505200" cy="762000"/>
            <a:chOff x="1600200" y="1219200"/>
            <a:chExt cx="3657600" cy="584775"/>
          </a:xfrm>
        </p:grpSpPr>
        <p:sp>
          <p:nvSpPr>
            <p:cNvPr id="6" name="TextBox 5"/>
            <p:cNvSpPr txBox="1"/>
            <p:nvPr/>
          </p:nvSpPr>
          <p:spPr>
            <a:xfrm>
              <a:off x="1600200" y="1219200"/>
              <a:ext cx="3657600" cy="584775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/>
                <a:t>I  AM</a:t>
              </a:r>
              <a:endParaRPr lang="en-US" sz="3200" b="1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048000" y="1219200"/>
              <a:ext cx="2209800" cy="543247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0" b="1" dirty="0" smtClean="0"/>
                <a:t> </a:t>
              </a:r>
              <a:r>
                <a:rPr lang="en-US" sz="4000" b="1" dirty="0" smtClean="0">
                  <a:solidFill>
                    <a:schemeClr val="bg1"/>
                  </a:solidFill>
                </a:rPr>
                <a:t>NAJIB</a:t>
              </a:r>
              <a:endParaRPr lang="en-US" sz="4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16"/>
          <p:cNvGrpSpPr/>
          <p:nvPr/>
        </p:nvGrpSpPr>
        <p:grpSpPr>
          <a:xfrm>
            <a:off x="4038600" y="762000"/>
            <a:ext cx="4802187" cy="707888"/>
            <a:chOff x="1600200" y="1981199"/>
            <a:chExt cx="4349151" cy="397279"/>
          </a:xfrm>
        </p:grpSpPr>
        <p:sp>
          <p:nvSpPr>
            <p:cNvPr id="8" name="TextBox 7"/>
            <p:cNvSpPr txBox="1"/>
            <p:nvPr/>
          </p:nvSpPr>
          <p:spPr>
            <a:xfrm>
              <a:off x="1600200" y="1981200"/>
              <a:ext cx="4347714" cy="397278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/>
                <a:t>I  AM</a:t>
              </a:r>
              <a:endParaRPr lang="en-US" sz="4000" b="1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80427" y="1981199"/>
              <a:ext cx="2968924" cy="39727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>
                  <a:solidFill>
                    <a:schemeClr val="bg1"/>
                  </a:solidFill>
                </a:rPr>
                <a:t> </a:t>
              </a:r>
              <a:r>
                <a:rPr lang="en-US" sz="4000" b="1" dirty="0" smtClean="0">
                  <a:solidFill>
                    <a:schemeClr val="bg1"/>
                  </a:solidFill>
                </a:rPr>
                <a:t>Engr.  NAJIB</a:t>
              </a:r>
              <a:endParaRPr lang="en-US" sz="4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17"/>
          <p:cNvGrpSpPr/>
          <p:nvPr/>
        </p:nvGrpSpPr>
        <p:grpSpPr>
          <a:xfrm>
            <a:off x="1905000" y="2286000"/>
            <a:ext cx="4191000" cy="707886"/>
            <a:chOff x="1600200" y="2743200"/>
            <a:chExt cx="3657600" cy="465339"/>
          </a:xfrm>
        </p:grpSpPr>
        <p:sp>
          <p:nvSpPr>
            <p:cNvPr id="10" name="TextBox 9"/>
            <p:cNvSpPr txBox="1"/>
            <p:nvPr/>
          </p:nvSpPr>
          <p:spPr>
            <a:xfrm>
              <a:off x="1600200" y="2743200"/>
              <a:ext cx="3657600" cy="465339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/>
                <a:t>I  AM</a:t>
              </a:r>
              <a:endParaRPr lang="en-US" sz="4000" b="1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048000" y="2743200"/>
              <a:ext cx="2209800" cy="46533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4000" b="1" dirty="0" smtClean="0">
                  <a:solidFill>
                    <a:schemeClr val="bg1"/>
                  </a:solidFill>
                </a:rPr>
                <a:t> Ir. NAJIB</a:t>
              </a:r>
              <a:endParaRPr lang="en-US" sz="4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" name="Group 19"/>
          <p:cNvGrpSpPr/>
          <p:nvPr/>
        </p:nvGrpSpPr>
        <p:grpSpPr>
          <a:xfrm>
            <a:off x="685800" y="3505200"/>
            <a:ext cx="7620000" cy="1077218"/>
            <a:chOff x="685800" y="3505200"/>
            <a:chExt cx="7620000" cy="1077218"/>
          </a:xfrm>
        </p:grpSpPr>
        <p:sp>
          <p:nvSpPr>
            <p:cNvPr id="12" name="TextBox 11"/>
            <p:cNvSpPr txBox="1"/>
            <p:nvPr/>
          </p:nvSpPr>
          <p:spPr>
            <a:xfrm>
              <a:off x="685800" y="3505200"/>
              <a:ext cx="7620000" cy="1077218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/>
                <a:t>I  AM                               Network Security 	                                 Specialist</a:t>
              </a:r>
              <a:endParaRPr lang="en-US" sz="3200" b="1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81200" y="3505200"/>
              <a:ext cx="2286000" cy="107721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 IT Expert</a:t>
              </a:r>
            </a:p>
            <a:p>
              <a:endParaRPr lang="en-US" sz="3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" name="Group 18"/>
          <p:cNvGrpSpPr/>
          <p:nvPr/>
        </p:nvGrpSpPr>
        <p:grpSpPr>
          <a:xfrm>
            <a:off x="609600" y="4953000"/>
            <a:ext cx="7696200" cy="1077218"/>
            <a:chOff x="685800" y="4343400"/>
            <a:chExt cx="6934200" cy="1077218"/>
          </a:xfrm>
        </p:grpSpPr>
        <p:sp>
          <p:nvSpPr>
            <p:cNvPr id="14" name="TextBox 13"/>
            <p:cNvSpPr txBox="1"/>
            <p:nvPr/>
          </p:nvSpPr>
          <p:spPr>
            <a:xfrm>
              <a:off x="685800" y="4343400"/>
              <a:ext cx="6934200" cy="1077218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3200" b="1" dirty="0" smtClean="0"/>
                <a:t>I  AM                                       Machining  	                                       					   Specialist</a:t>
              </a:r>
              <a:endParaRPr lang="en-US" sz="3200" b="1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1981200" y="4343400"/>
              <a:ext cx="2819400" cy="1077218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 Mould Maker Expert</a:t>
              </a:r>
              <a:endParaRPr lang="en-US" sz="32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xit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xit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in)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xit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ox(in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4" name="AutoShape 4" descr="data:image/jpeg;base64,/9j/4AAQSkZJRgABAQAAAQABAAD/2wCEAAkGBxQTEhUUExQWFRUXGBoXGBgYGBgXHBgeFx0YGhcXGBgYHCggGhwlGxcYITEhJSkrLi4uFx8zODMsNygtLisBCgoKDg0OGhAQGy0kIBwsLCwsLCwsLCwsLCwsLCwsLCwsLCwsLCwsLCwsLCwsLC0sLCwsLCwsLCwsLCwsLCwsLP/AABEIALoBDwMBIgACEQEDEQH/xAAbAAABBQEBAAAAAAAAAAAAAAAEAQIDBQYHAP/EAEYQAAEDAgMEBgcFBQYGAwAAAAECAxEAIQQSMQVBUWEGEyJxgZEHMqGxwdHwFUJSkuEUI3KCsjNDU6LC0jRic4OT8RYX4v/EABoBAAMBAQEBAAAAAAAAAAAAAAABAgMEBQb/xAAwEQACAgEDAwIEBAcBAAAAAAAAAQIRAxIhMQQFQRNRFCJhcTJCkbEjJFKB0eHwFf/aAAwDAQACEQMRAD8A6aVUhXSUhrE2JJpmY0oNeoGezGm5z30sd1eg8qAHdbSJd4UmTia9PCkFjs5rwcNMivUws8p0juvUilmD5/pUBVunT3VPHtFILB8Nj0lIKjB3/GnDFQ6lG5QnyNqHw2GgZVCYOv1yqJhGbEqjRCQPEwaoTZaLUQYUnug0xToohCwRB1FQOSKQxqNABzgceQpv7QmYmDvSd1PKOyOOvnTMQErHaHaG+NaAY8qABOoF/CokqSV2Jn3g6U7CJhJnu8qbkTMj68KAFafSZ74EgiePvofHbOZenrEJKhF4hQ3iCL0/CIHV8e0T7bGmrQFK0vEz50hHOemmyf2dQCcxbcFiTcEG4PHv4GsmwszExYjf8BXV+nTIcY6sxmPabJ0zJmUk7pST5VzFDMEC2X8Sri/IXPnWU2iJLchxKYIyxMZLDcRvnfrpQZxBQEozXSSE+M1YqKM4CkFKoFwbSDrEaV7F4HMrMmJTEi0GCOJv4VmppARN40kEZwm9hInmbai16FW0lRK1HtKjLBAF7DNwm/Cice3BWoJQm+gsBbdw8DvqnxLg33109scpNOLvcTdCOLI7INteM90CalwTRWogFCZOhUAfArMDXeRQDRvrF6kwzykFUKIzCD4GY7q107E2Xgw6UJCVggrEFSSk3vBg7p3CeVQkqzH1yQJB0iTFkmL6VCxtBATlJKbGSmDm4JII476gTtFKnE5yUCRmy28ZF5g89KxUJWOy9eKgB2AsFFkqEhB0sZyz2p5GKGxLbPVSG8pCgOySVix9YHUH4VAraiVTda8sBEKIJQCSSTvJMcaG+1AlGaQVKsYEKEGxVuVI30KMlwFnUEekgKH/AA6gf4x/tp+C9IICAHWlFUmSkiN8WPgKG2X0bQkJW40t1JQLBSYBVImLG1iKqsZsltsyrr8oVCz1IOUXEyFXuI8a1tmppj6QWYP7pyYt6keJr2z+nzRQOuQsLvOQAjlqQdIrJY1rCdtSHXAm5SksL8ElU+015SdnlKQMUpKwDmzMuEEm4gDSNN8607Yza/8AzzCxo53ZR86jwXTzDlA64KQuTICSREnKZHKPGax2Dw2BUlebF5VBUJJaXEA3URwPsqTC7MwZXCsakpABkNrAMzaToRY+NLUwNsem+C/Ev/xmoNndO8OpH77M2rkkqHIgjlWQ+xsOCknFtqSVBBKULgWm50GntqF7YqUpKhiGVAAkQVyY4djWjUwN8emuD3OKP/bX8qHwPTnDqB62UHMYASpUp+6bb43Vi8bsVKVQl9kiE+svIq4BPZIkfKKjRsgKAyvNdZmUlTZVlUMpgROswfIUamBvV9NMH+NUjT92oeGlPwPTjDluXiWl3OUgmRPZKd5kVyPaOKDSymQSnekhQ42IsarXdpLUSZUT43raEJPdkOdcHYHPSJhSsJSla0xdcAAcLKPtqHZPTPDNBfWKlSjPYBPG0mOWlcnYwuIWnOhl5SdcyW1lNtTmAiiTsrFpKQcO+CowP3arnhprV6CNbOr4np+1EttLUZHrQBG/eTTHfSA3ollfiUj41zZvY2MkDqHpIkdk30FvMedPRsjFkkdS7bXsn36UaEGpnSF+kNuwDDnPtJ5frULnpDRIHUqy7+0J8BXNcVhn0DMttxKQoolSVAZhqmSNRwoZ0rSYUlQPAgg3gix4gijQg1M6236QGYjqnOcZfnSHp0z+FyOYTbuvXLFMupEqQsDiUkDzNNS8eJpaB6mdMc6eIAhtsmPxGPYAakR04bCx2FFO9VhHcDcia5ml41peh2xBi1LDhUEJAMJsSToOVc+fLHFBzlwioKUnRrtqbcYxDXZzRMgxGk8b1intkAkduw0lJPxrYPbU2cyerscloSlagI56GkPSXZ54f+L9K8mfXuSVY5HR6K8syf2Yne9YnTIJ/q+G41GvYyB6jywbGciSZHPOLVvtnnB4gHqkoUAbyiCJ09ZIqF/C4DMUq6gKBgglCSDwibGuV9x+ZrTLYtYFRgcZsoK1W4CdSlkXmNYd41Wv7IZTmScQU3PrMLgRwIUQR3a11XAYTCtmWy3u++CLaWk0E/0YSqVJeWJ3QhSfAR8a2j3HGl5X9v8AQvQf0MBiuiDjbH7QVIcZjMIBCiDoqCLeNZ0ZZEgRF75jyNzXZsThFhKQ2pYgZSFpUpJ8LgDlXLulWyV4ZzNlTkNkZZ3biNQQK7Oj6z1Hpck/Yyy4tO6RSOvIB5aaQbfGpPs9eULAlBVlC7QTyBMmJ4UGw2VGCcu+4NHtuhtCgUKWvNKVJUcoBFrbiDevQf0OagTGdkgqMH7piLDSwqZnHIjtISSNbSDu0IoTbLqj1QUZ7AI8eJ7gKgw+ijyHvFaRWw6Lba213H3JZdcShIEJClJiNTlB476sGelGJS2hLi3FgkDMpycwnQzc+NA7P2QW1ZiCbe/lUrrCVbwkpM/QrGWVKVG2jY1OIJK1jMSL2m2nCs+WRJ76F2CVoxKs05XM1ydZkgjlrVmw1JO4A3P1vpzW5KYmC2r1GY5UFGWVZkIUJ+4BmSb62FVzvTF0zDSADIshsWPci3LhTtsIVnyltWQDsiblVu0Y4cDTNltNtkOOZF65mzrF9DpO+rSSRNkmG6U4o2QkjecpCNBEkgC8b6tNj9JcW7nBcdTEXDijJVrVPi2moXkNlE5UixAmbjhFT9HlobSsLUBKhE7xxpOq4BMTE9MMVmVPWGCR/aqm1qN2R0gxDmZai4kJ39YslSjoBx4n9aoEsLW6oISVFS1ZQnUyTEVsMHgwlo2lLSDcXzLI7ahxA0HdT2ugbpWZ/EBRMwaibaKiEga05Tx14micCZcHjXQp7GO5O5t/EpWFJcKctgE9lAA3BAGWN+mt9abh+lOKSmOtJTlUk5wlchRBUFZwc0kDWdOFBYs3UJi/woJCtTwAHxouxWWR2+8VBQVlKQoJyJSgJziFlKUJASoj7wE86IY6SPJbQ32FIbnIFtNLyyZMZkmKq8LlVlESMwBtxo3G4YBSQAEyYmLUWgstcN0jxCloJdmezlWApBuTK0EZVGSTmInnTOkDbrb3WvKSta1Z5GkiCNYgXAA5RVMV5REiQaI25j+s6u8wgA9+/wB1QpMppGk2jtZ/FIskJQEiQmJI5m06VTowSzPYUY1gT7qJ2Liv3Kp4R5GrzZr2UrPFtXsGYf01PqtBVmbaQK3nQYBrDPvG14H8o+ZrnLi9OJvNdCxgLGxwNFLgd5Wr5JNeb3PJqxxgvzNHV08abZz8slR10AJ5zUQZTN5PjSOPnMQDadPZ8KLQwBWgNmm9GWDBdcXJBQBABMKCpHa4xFDekRoh/KEoSIzZkjKpWcyc0etCgqDrejfRwuMS4n8SP6SPnRHpMwkqZXGoUk+BBA9p8q8j1HHrqfDR0Nfwjmq1r/Gsd5NXfQtbn7YylLpTJudQRBJSRzAjxqsdag2nzPxojo051eMYVwcT7THxr1syTxv7M54P5iXE7cxjTi0ftLspUpN1qPqkjeTVicY7jNn4gOrzrZKHEEgSE3SoW5UP0ywYTjHxl1VmG71gD8aM9G4Sp55o+q40QR3EfrXLPQsKzRStU+PsaK9bizC5zSsoWrT1Rqo2SO81cu7KSlRBSSUki6ouOIqHEYIq1JjcAQAO4CvVi01aOVqiseeSAQO2Y9Y6fyjd30C2skxIHeYHtq5+yRxV5inMbLQkmU5juzEEc7CJrVIRoMQ9lFZ/bOOCSUpMgnMfIfXjVnjcck2QQeJ3d07zVNi8IlJzOK7R0Tv8twrPTuWnSD8Jjw4pLmVLaUk6mdBFgBeocZtg3DYMEm/f7vq9MDKCYzZrAwLDj3mKlZaTMlItEA6HvrXTe7Ic9qAmmHXT61vxHTz30UNjE/3h8BNXjOORAsByj9KVWOT9CjQyNZSK2NEHMtRmwiJ5Vao6CYpeXIhUk9oFaBA5X1q22Thes/eg+qq3OLn4Vodk4xaHElFybAE8eNeb1/VZMDSgk7OnBBTVsyGytjqZUoyrrCS0kKkFMf2h/wBP5qN2wtTYQ20rKUgyZ1nWats+ZxbouJKUk7xJJVykyfE1lcfiASpW83rqw6pR1S5Zhlaul4KUOnU39/f3UcyTMpP6caVrCjskzoAOHjXlYZaO0hJIPAT4d3OumKMtQHjTM/8ArW00KfVPMn5UdiAtUSiJPPzJigiBEKJTc3iR47x5VSGXOw9nFSEqJhObNFrkWmiNrLyhQIBlO/dBBBHlHiaFwO0upRkN8otHO+o3XoTH7WDgPYIkRqPlyqWmwRVzNSJNRJFSJqxo0WzP7IDl8TUOMxxWqJISm0DfxNBIxKoABgRFKwm9ZUUgzAtZ3UI4qA9t/ZXSPSMoN4ZhB0SqT/ImPeush0CwfWYtBIkJ7XuHuk+Fbjpk8r9pwyW0IcXlWYcnKBa8DfavE63IvicafCtnZii9Do5Ggz9fW+rpI0rqqujzDgBebQtV9JTE3gQePGmK6J4U/wB2R3LV8T9RWEu6YrpF+jKjD9BFxi08848xPwrQ+kts/sqVCxS4PaCKqcJgRhtoJbBJSHEwTEwtKtfOtN07azYN3llV5KHzrizzXxWOa8m0F8jRxxTx0OtewLkOpPBQPlBpHdaRpN+Gvur6B04s5Kpm39IbAD6Fn7yAT4GKqegBKccjdIUPjV36RyIw6zvSof0mqXoLh1HFtkIXEntQYHGTXnY5X0TX0Zs1WWx3SVvJiHgPxk+d/jWZVjuIrX9PG8uKd5gHzEfCsA4L16fRy1YYP6I5cqqTCsVilEWUU76iRilWUV23iB4UMthShJISI+rUCsEGK6xeDqTOxW06a8bUNjOi7TiwomOPOPCjS2Z8ONO6s/RFXZDRGjYDP4fdUw2ExwrwQr6IpUoV9GnYhU7DY4VVY9LTbhQMM4oCO0ASDO8QKteqV9EfOlDS+Ht/WiwHsbNbyiM6JmU5tJ5VNjMrLK1g3P7tJPFXrHvCZ8xUuzdmLcUSoEJHt5A0Xtvoz+1BtKiEBsyAm8jekg2g8da8rreqw6lCXjn6HThxy5Rgv/lmQZQ0CBbU/Kq37YQdWlDxFdeT0Uwp9Zhs/wAiB7hUauheBUSDhkiN4KhM8IO6sY94xf0sb6R+5y1rbjYHqq8cv+6pE7dbVvPkPnXSF+jnZ6v7kjuWv50M56LcCdOtT/OD70mtF3np37/oR8GzBI2uyfvHxBoLaRadIIWBa8gj4VqtrejUJcbGHQ6pBMOFxTVha6YjdOtWH/1en7rmXvAV7gK1/wDU6ZU9XJPwsjmyWE6da35079k4LbP8wrojvorUdMUB/wBr/wDVBueiZ3diWz3pUPcatd16Zr8QvhZmIGz1bik9yhT/ALOc/D7R861S/RNidz7Z8Vj4Go1+i3Gbltkf9RQ9hFUu59M/zoPh5rwZz9lWPunyotpjKgqVqbAVZq9G+PTolKv4XE/GKenolj02WwojjCFR4pMxVfG4JcTX6h6M14NT6K8HdbhG63hYe9flRO2X52shP4Wo8+18RV/0OwXVsq7BRfKARBhI1PerMfGqTpTsDFKxXXsZBISJgFSSAQTdJtXzufLDJ1MrdKmrO2CaijVGo3doNoHbWkeN+6N/hWa6P7AWXVnFqcdWBN1qyTMWAgEVqg022M2VCI0IAB84mvKnHHCVJ39kb234MmjZzz+PGICFIaCkmVjKVBAiyTe8ndvrS7bwfXMuNgwVpIBOg5mKf1ri/UGQfiULnuTu8fKoiylIlXbJIEntakAW030ZM8pOL408DjBLkxiegLaf7XEpHEAAf1H4UdhuieCT/ivHxj/KAPbWtTh0j7o8ABTpq59wyvbU/wBhrHD2K/KCEgMA5RCc+Xs7rancKkJc4oTyAJ+Xuomb1Es1y+o3sabexzH0huEYnQGUJPtUPhWLeCbkpI8a1npLey4pP/ST/Uusg46FJjjrO6vte3J+hD7I8rP+Jjdn4ohSiT2bT8qhxK2jonxMz76ahYCSCRJOlObSK9Tg5t2b1h3MEqGhFTSfw1kGtorRYXTuvpUn2yvh7f0qFqXBeo1cq/D7q8Sr8BrKfbK+fn+lL9uK/wCbz/SnqkPUzVyr8BovZuFU6sJykDeToBxrEHpAr/m/N+lbXoZi+swy1qzSpdr37G6fGk5SHrZqGFqaWETKPViIgwSI7wDrR+Fdk1ncQFoIUXCUTIk30jfrqb86N2dibGK+d7vj9OdxXKOrppaluaIU4UA3ijU6cRXg2zrDU04UKh0VJ1tTqFRPSUwOinBVKwoVSZkHSkQgAAJAAAgAaCLAUtSJTRb4EIE06Ka44EiVEAcT9XorCsBX19AV29N27P1G8Vt7szlljEgmvAVV7cQtK4SV3+6mDrxyijsDh1IbGc9vUiZiQP1vzrr6ns0sGJ5NSdeDOGdSlVBBqFxwC5MVGtazoMo4mCfAA+/ypEMgGdTxNz3Dh4V4b92dKQ1bqj6g1+8r4DU+ykRhgDJ7SuJ3dw0HhUxpKV7bDEUkHUTyNRPNyIiIII0+6Qd3l4VMaaTUqwPKqNVeJ4Xr3Vk8vbT0+5VlftR14JHUJSpRUAcxACRGvutzNU72zn1CcRisg/C0Mo7syquts4vqW5SJUbCeWp8JHnWHxONUoypRUa97tvQTyQUtkvet3+py5syi6K/pDg2kuwgqUMo7SlFRJvN+HKqk4dNWWLOYiahcZTFlX7x+lfS44aIqN3RwybbsrTgkcB5Cmq2ej8NFrTwphQeIrayTbK6IYT8CvzGmK6HYU6JV+Y1o69FZWzo0r2MwroVhuCvzUw9CcN/z/m/StWU1GpPKi2LSjKq6B4c/4n5h8qKweHRhChpCSpKSTeT6xmbR9CrjF4kITO86VnsZhUunMoqCuIUR7NKuCbInS4Lfa21S8YISDlIFtwvAnnTNiYdLmYKIT2ZSdII0rOrwbyRZzrBuChfz/Sitk7V6pQDycloueyqbETFrV53dMM5QUkrovp5JOi/Rs9/dfuWPnXnf2hsEqBgamxqJtLa7tPQDuM25ZkzPlUqkvJHZcCuSVSfymvmqd7neLhtutlSWys5zCfVtmO6dN9Wu0XHGlABOYEawfGaoNhbKKnwpSv3YObJlvnGpnhN6unsdiEqIyFQBscuvlT6mOFNLFvtvZONzd6iL7Uc/wz5Kp32woatn2j/TT07Vd3sn8p+uFe+0lOy11JGYQVaZQd+lYVfg0ssdmYsuIC8sA6X4WnT6ipsRisg0mbC9+W6nISEJAFgBA8Kzju0VF8wQCm4CuBFtRvF/Gu3tvSLqMu6+Vc/4MM2TStuWE4vFWKilRVJToJA7PqpOmuut6YlxWWUktZZk5xcbsyUzBinYIy4hbiE5RClZiLkkiwVcyIOhirHa21klJQ0gJETMDTfYCIi8zbfX2caSUYqjzHHy2U+xNrrQ4CXM6SYIJJ1iCPOjei2MU91zqtVuqMcAIAHkBVTi150ZG05lWVmSoEGDIgAd2/jVl0IaysEHXOa83vEv5WX/AHk36b8YZs7HuuKdCmsgSYSTPa427ovVgCd+vLSeVOWqNdOJtQTm0mxMrBi3Z7Ws/Kvj1inl/BD9z0XJILJr08BQmE2oy4rKlXa4EETHCaNmoninjemUaf1BNPgTKd9Nyjv8aWvTUJN8jFphNOUaq8V0gabNjnUNwMjxNdHT9JLLNJImU0kVPSjGZnFIFktpKR3/AHj5+6sBsvafXOqSICQbHiONXm1sSeqdXPaUIBie0tQExv1mszsLZpbxKklKkykGDY62NuPKvuYxUIqK8Hmt2y7xeGFpkd5FCpw4P3fcR5xWnZwyXUGZG7yqvd6PLB7JBHeU09QnEpHcIRqI7r+41AWlDjHj8a0TeyFjVKk9xze0H4UYNlEj1yPCjUGk0U14qNAvbVaG8nuE+2g39uD7qfOima6ki4z0inI1NZp3a7h3x3CgnMQVG5J9tPSydZZbaxMrsZsNKDQ6agcTBjhTkk8K0jsjN8hiF1MIOtBKcgSTlHEwI86B2ptlLDfWSFjMEwMs3nnyq0yWi6/ZG/wJniAB7RXjgknQrHctY+NZljpyyfWC094n+kmi2umeFJgrI/lV8RUyx45cpDU5IvU4dQ0dcHiFf1A1Mhx8aPnxSPhFVbPSPDK0eb7swB9tWDGNQr1VA9xn3Vzy6Hp5cxRSzZF5CU4vEf4oP8qvgup8LjHgZlH5SPjULbiTvHnRbaBWb7V0r/KV8Tk9yR7ELXq5A4JAHnM0G7giYGdR3CY8ItRyGxU6GRW+DpceBVBEzyue7KVzZrk/8Q5Hcgi3CU05GzHNP2hz8rf+ytEzhZqwwmBE10UkRyDbE2SvL2idImEgnvgCi3tnBCClHZO4i1+ffNWjuLQgd3Cs5tvbJVISMvPfWM4xlyjVbFBjsQd6iTzNVaHu0DMDfNqF6Q7XQwnO4TKiYAuVHU79OdYxfTdZWClAQjzV56eykopcCs6TjEhGIC0RAyq1tz08fOtqkzcb7+dc+wbmZAVMyJ86tFbXdKAlJygCJGtufyrye4dDLqXFx8G+LIoXZp8Ri0I9ZQnWN5i9hrVNi+kEpUWk6RJVreYIA528RVIylWYKKjmkHnbmakP3jxPvJO7upYO04ce892OWaT4IX8Q65661X3SY8tKjDIqYkCo1KtNvGwr0owUdoqjBtvk8wyFOITbs5nbiR2ISJG+65HMCn7SYDmLbUmBIcBgRISoEbtO1VX0VxSnn3FLUISiITvEiw4ySPKtViWwXkqbsA1vsSVKAJ7pQarwJcjeoAEAQOFqTKoVPlPI0l+FQaFVjdqlrVl0jiEgi3MG1VTnS9M2bV4kfKtVNDYrZ6HPXQlXeL+YvTBoyxNNKqkcdJsTQ60zW6MRc1Mz0gNIFUxWWPV5kyNYop/Z6mlZVg5gJvzAPxoHCvdmJ4iiG3Vn1lAxYR/7qeEUVPTBhXUpIBykEzuJHxiufYbBF11DYKEFRyhTighI5qUbAa10DpRtBxGXq1EQjTUTJ3GsHtTai3gkLSgRJlKcpM8eNWuCfJu+i3RTD4cKO0HGEqdUGmv3jawlMFS3AbgEgZQToTuqZz0f4FzrFM4hQSltSgkONuStIUopFrpSnImRJlR4VzBARvCh3R8q0GweiRxaczTqBBIhYNoGbUTUjNNtD0UOIDQQ+FOLUEKSWyAmElTqsySeyiDukwONUuDQdm4x5twJcUgJQooJA7QCrZgOO+gXsJi8OopD5BEjsuqFpki8CJE99SYHBPPrdW64C4oglTigSrW8g0xGy2b0taWtKVJUgkwCrKUzukzW7ypcTmRCVASpGg/iRy5bq4+vo9iBcIC/4FpPsrcdFXXCwkOJUlSCUwrWB6vsPsp20GxfNvjeY77UQjEJ/EPOgcQ6UIzRPxqLD4py6nEJSkBJsbjNoSDu7pp6w0mgwrwnUedW2HXa2+s0mOAPgKPwK40Cfyp+VJyGkFY9dUOOVvNhRmMxSiT2iO63urK9K8Zkbygwpzs9w+8fL31mWzHbf2mXXOyBoQJiABcn65Vmdq4LKJjvtAPON26tn0M2O2+8HHjCVL6ptP4ikFSvIA+dWXTno4htoOJSAMxQYsCJIBjjIHnSskk6HO58I2Tw91quorP8AQYZcIjx95rQZidBSKTFEew1GVWgUzEOJRGdVz6qRdSjwAGteZQ4593qkEb4Lh5i+VPjPcKTYbsD2ptNrDiXCM0SE7z4ViNsdInHiQDlRpG88a2GI6EsuKKluPKJ1OZE+1HxqAej5g6POjlKP9lCaE4squhm1UsvSuySkg8jaCeVq3WyMWXAp0zDiuxOoQgZU259o/wA1U2C6DMIIJW6uLwSkT35Ug+2tQ0gAABMADSPZSf0LjGiRDk04zUagDupQI0nz+jSLPKRPCkUyaQKP18qVKqYGJIphTRLiIqBQrY5gdQpDUi01CTTFQ4LjSlY2m0d4B3/WtQLVWb25gSFFaRKTcxuNFBaNm4wy76y53a0BiOhzSvUWR3gH5VztxUmiG9ouDRR8yPcaakFGnxPQZz7qkK8SPfV30DwTuEdUHUkNmDIIVuIOnI+ysfszb+ISZLysvA399XLXS50a5Vd4j3UNpglRN0owDyn1rQAUyY5ibG/KqNTTo9ZsnuvWgb6bj7zU/wAKvgRRrHTLDH1gpPemfcDR8oUzHDF5TdKkn64Xra9ANoZw6klRylJvO+dJ7qJa2tgHdS0f4gAfbFWezcHhWyVNJCcwvlJg+GlDr3GrNdsrDNvtFCjC03HMXuOMSfZVBtBaCVJWDAIypSSVGIETwgcN9TNFG5wjy+VTpbbOrvmJ+NTQ3uewghCQdQBNHMm1Qpba/wAYHuQfnXn8U0hMZirwCfeTUtlogfXXOOl+0M7i4NkjImDv+97ZHhWh230qbQFBsArgxvg84isSwkrcQDe6Sq86qSCb99KxSdnUdj7OaYbw4yhS2ZIO+VglQn+eP5RQnS5ZXg3SbaKuZuVp0qz2fhC2VFRGZxzNJ0SICYHgnzNQ+kPIWAyymynW0SByUo/0zR4BFNs9LeHwycygBEybeEbzN7UjWKees0jqkf4ix2o4pb4/xeW6rHAbHQi5la963DmPhNkjkBVp1FqztstRK/AbKQ3JEqWfWWo5lHxiw5C1WKGRXkoIuL/XGpEr4+VIuhQgUvVA7qeFU6TQMjDRGhnvvS5uVSXrxFAURxXurrymvoWpMsUAeKeVRlE6inmlimMFfwaVesJ+uNVz+wh90+dXRVSE7/ZFXZDijJv7HdE9mRyiqnEMEWIg87V0EnlUbrCVeskHvAPwqtRDxnOVJoHFOEaV0LFbFZVfLlm3Zkdx+hvqtxHQ4GcrhHekH3VWtEaGcuxOCkknWhTg4romL6GOjQpVymPfVViejTydWleAn3U9SJpmQ6mkKavXtlkG6SO8GhlYPxqhUVUU1QNWC8JPKoDs/maQA1EYPGONGW1qTyBt4jQ0pwcaa0qWqKDgs0dLMSN6D3p+RFTJ6Z4jg35K/wB1U3UUisMRqIpaUO2X46c4j8KP83zod/pa64ClxKVA/hUts+aVX8qrGcGFWK0oO7NMfmSDQzjcEix5i4PdSpBbCWXLXPx3VaYLE5Vg8Uj2KSr/AE1TMad30KISdOVKSBHbcMtSwpakgIlIbg5iq0lR04xG6DehHX0u4lLSO0hgFazb+0cASlI7kZvzVidk9Knm2w21BVPZmSUnikfe1Nq2HRbAlhqFz1iznWTvJ3TyrJvwaxLxDXIVIE91JNOT30jUXKaQtTTguk6ykA0II0v3/OnJcGhsef1BpwcFDIxzSiUpWhRBgpCkkg8CJ7/KgYXNNJqBUjQx36V5Lh7vr20gJ5qM0OjEpUopStBUnVIUCod6QZFT5aYDVCfr6+jTdN9eUUzBUJJygZhJMTlHE5bxwpqCFCUqBB0IMi30aYBAbr0CkrxpiPV6l30hoENUgGom1GSDuqaol6p76YEkjhTFQKcK8aBjHGQrUAjnQTuxmVGVNIJ45RPsqwcNjXk/CkKkyjX0Ywxv1YHcVfA0M70Ow53LHcr51o3TehH1XH1vp2xOKKE9CWfxLHin5VGvoOx+NYPen29mtG39e2iUIEaCjU/cWlGawPRTDJNxmOvaMjyFjV0dmtqASptBTuGUEDutRLgsO8e8U9FLkaiikxXRDCL/ALqP4VKHxigHfR/hzvcHcU/EVr291Kd31uo1NBoRh1+jfD7nHf8AJ8qcz6OmQf7Z4jeOx/tmttv8RTd3jT1MWiJU7I6NMYe6Ekq/Eo5iO7h4AVbdWKkXXk6/XCoKRAUkaGRw3+B+fnSpcnT9fGpTr5++hcUNDvzRPLhTQycgV72fCoxoPCpONIY0K+v0qtTsZBjMSrtKVfSFLzlIA3THlR7hpQL0WJlN9gSIU6VGUmVJJJyBICT2oySM2W17zxPwWADZJKs0iDYjSe0SVGVGRJ3wLCKK/WvDX650WLSUzuxCSqHSJKiBlkDOsLKSFKIiQBYCQTTm9lAAArVnmQs6gdXkABnTMAuOXjVur/UPhUhFvH4U7DSipVsib9Yc2sx/eSD1mvKMvAxNWGFaDaEoSIAECmM+sfGihRdjS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46" name="AutoShape 6" descr="data:image/jpeg;base64,/9j/4AAQSkZJRgABAQAAAQABAAD/2wCEAAkGBxQTEhUUExQWFRUXGBoXGBgYGBgXHBgeFx0YGhcXGBgYHCggGhwlGxcYITEhJSkrLi4uFx8zODMsNygtLisBCgoKDg0OGhAQGy0kIBwsLCwsLCwsLCwsLCwsLCwsLCwsLCwsLCwsLCwsLCwsLC0sLCwsLCwsLCwsLCwsLCwsLP/AABEIALoBDwMBIgACEQEDEQH/xAAbAAABBQEBAAAAAAAAAAAAAAAEAQIDBQYHAP/EAEYQAAEDAgMEBgcFBQYGAwAAAAECAxEAIQQSMQVBUWEGEyJxgZEHMqGxwdHwFUJSkuEUI3KCsjNDU6LC0jRic4OT8RYX4v/EABoBAAMBAQEBAAAAAAAAAAAAAAABAgMEBQb/xAAwEQACAgEDAwIEBAcBAAAAAAAAAQIRAxIhMQQFQRNRFCJhcTJCkbEjJFKB0eHwFf/aAAwDAQACEQMRAD8A6aVUhXSUhrE2JJpmY0oNeoGezGm5z30sd1eg8qAHdbSJd4UmTia9PCkFjs5rwcNMivUws8p0juvUilmD5/pUBVunT3VPHtFILB8Nj0lIKjB3/GnDFQ6lG5QnyNqHw2GgZVCYOv1yqJhGbEqjRCQPEwaoTZaLUQYUnug0xToohCwRB1FQOSKQxqNABzgceQpv7QmYmDvSd1PKOyOOvnTMQErHaHaG+NaAY8qABOoF/CokqSV2Jn3g6U7CJhJnu8qbkTMj68KAFafSZ74EgiePvofHbOZenrEJKhF4hQ3iCL0/CIHV8e0T7bGmrQFK0vEz50hHOemmyf2dQCcxbcFiTcEG4PHv4GsmwszExYjf8BXV+nTIcY6sxmPabJ0zJmUk7pST5VzFDMEC2X8Sri/IXPnWU2iJLchxKYIyxMZLDcRvnfrpQZxBQEozXSSE+M1YqKM4CkFKoFwbSDrEaV7F4HMrMmJTEi0GCOJv4VmppARN40kEZwm9hInmbai16FW0lRK1HtKjLBAF7DNwm/Cice3BWoJQm+gsBbdw8DvqnxLg33109scpNOLvcTdCOLI7INteM90CalwTRWogFCZOhUAfArMDXeRQDRvrF6kwzykFUKIzCD4GY7q107E2Xgw6UJCVggrEFSSk3vBg7p3CeVQkqzH1yQJB0iTFkmL6VCxtBATlJKbGSmDm4JII476gTtFKnE5yUCRmy28ZF5g89KxUJWOy9eKgB2AsFFkqEhB0sZyz2p5GKGxLbPVSG8pCgOySVix9YHUH4VAraiVTda8sBEKIJQCSSTvJMcaG+1AlGaQVKsYEKEGxVuVI30KMlwFnUEekgKH/AA6gf4x/tp+C9IICAHWlFUmSkiN8WPgKG2X0bQkJW40t1JQLBSYBVImLG1iKqsZsltsyrr8oVCz1IOUXEyFXuI8a1tmppj6QWYP7pyYt6keJr2z+nzRQOuQsLvOQAjlqQdIrJY1rCdtSHXAm5SksL8ElU+015SdnlKQMUpKwDmzMuEEm4gDSNN8607Yza/8AzzCxo53ZR86jwXTzDlA64KQuTICSREnKZHKPGax2Dw2BUlebF5VBUJJaXEA3URwPsqTC7MwZXCsakpABkNrAMzaToRY+NLUwNsem+C/Ev/xmoNndO8OpH77M2rkkqHIgjlWQ+xsOCknFtqSVBBKULgWm50GntqF7YqUpKhiGVAAkQVyY4djWjUwN8emuD3OKP/bX8qHwPTnDqB62UHMYASpUp+6bb43Vi8bsVKVQl9kiE+svIq4BPZIkfKKjRsgKAyvNdZmUlTZVlUMpgROswfIUamBvV9NMH+NUjT92oeGlPwPTjDluXiWl3OUgmRPZKd5kVyPaOKDSymQSnekhQ42IsarXdpLUSZUT43raEJPdkOdcHYHPSJhSsJSla0xdcAAcLKPtqHZPTPDNBfWKlSjPYBPG0mOWlcnYwuIWnOhl5SdcyW1lNtTmAiiTsrFpKQcO+CowP3arnhprV6CNbOr4np+1EttLUZHrQBG/eTTHfSA3ollfiUj41zZvY2MkDqHpIkdk30FvMedPRsjFkkdS7bXsn36UaEGpnSF+kNuwDDnPtJ5frULnpDRIHUqy7+0J8BXNcVhn0DMttxKQoolSVAZhqmSNRwoZ0rSYUlQPAgg3gix4gijQg1M6236QGYjqnOcZfnSHp0z+FyOYTbuvXLFMupEqQsDiUkDzNNS8eJpaB6mdMc6eIAhtsmPxGPYAakR04bCx2FFO9VhHcDcia5ml41peh2xBi1LDhUEJAMJsSToOVc+fLHFBzlwioKUnRrtqbcYxDXZzRMgxGk8b1intkAkduw0lJPxrYPbU2cyerscloSlagI56GkPSXZ54f+L9K8mfXuSVY5HR6K8syf2Yne9YnTIJ/q+G41GvYyB6jywbGciSZHPOLVvtnnB4gHqkoUAbyiCJ09ZIqF/C4DMUq6gKBgglCSDwibGuV9x+ZrTLYtYFRgcZsoK1W4CdSlkXmNYd41Wv7IZTmScQU3PrMLgRwIUQR3a11XAYTCtmWy3u++CLaWk0E/0YSqVJeWJ3QhSfAR8a2j3HGl5X9v8AQvQf0MBiuiDjbH7QVIcZjMIBCiDoqCLeNZ0ZZEgRF75jyNzXZsThFhKQ2pYgZSFpUpJ8LgDlXLulWyV4ZzNlTkNkZZ3biNQQK7Oj6z1Hpck/Yyy4tO6RSOvIB5aaQbfGpPs9eULAlBVlC7QTyBMmJ4UGw2VGCcu+4NHtuhtCgUKWvNKVJUcoBFrbiDevQf0OagTGdkgqMH7piLDSwqZnHIjtISSNbSDu0IoTbLqj1QUZ7AI8eJ7gKgw+ijyHvFaRWw6Lba213H3JZdcShIEJClJiNTlB476sGelGJS2hLi3FgkDMpycwnQzc+NA7P2QW1ZiCbe/lUrrCVbwkpM/QrGWVKVG2jY1OIJK1jMSL2m2nCs+WRJ76F2CVoxKs05XM1ydZkgjlrVmw1JO4A3P1vpzW5KYmC2r1GY5UFGWVZkIUJ+4BmSb62FVzvTF0zDSADIshsWPci3LhTtsIVnyltWQDsiblVu0Y4cDTNltNtkOOZF65mzrF9DpO+rSSRNkmG6U4o2QkjecpCNBEkgC8b6tNj9JcW7nBcdTEXDijJVrVPi2moXkNlE5UixAmbjhFT9HlobSsLUBKhE7xxpOq4BMTE9MMVmVPWGCR/aqm1qN2R0gxDmZai4kJ39YslSjoBx4n9aoEsLW6oISVFS1ZQnUyTEVsMHgwlo2lLSDcXzLI7ahxA0HdT2ugbpWZ/EBRMwaibaKiEga05Tx14micCZcHjXQp7GO5O5t/EpWFJcKctgE9lAA3BAGWN+mt9abh+lOKSmOtJTlUk5wlchRBUFZwc0kDWdOFBYs3UJi/woJCtTwAHxouxWWR2+8VBQVlKQoJyJSgJziFlKUJASoj7wE86IY6SPJbQ32FIbnIFtNLyyZMZkmKq8LlVlESMwBtxo3G4YBSQAEyYmLUWgstcN0jxCloJdmezlWApBuTK0EZVGSTmInnTOkDbrb3WvKSta1Z5GkiCNYgXAA5RVMV5REiQaI25j+s6u8wgA9+/wB1QpMppGk2jtZ/FIskJQEiQmJI5m06VTowSzPYUY1gT7qJ2Liv3Kp4R5GrzZr2UrPFtXsGYf01PqtBVmbaQK3nQYBrDPvG14H8o+ZrnLi9OJvNdCxgLGxwNFLgd5Wr5JNeb3PJqxxgvzNHV08abZz8slR10AJ5zUQZTN5PjSOPnMQDadPZ8KLQwBWgNmm9GWDBdcXJBQBABMKCpHa4xFDekRoh/KEoSIzZkjKpWcyc0etCgqDrejfRwuMS4n8SP6SPnRHpMwkqZXGoUk+BBA9p8q8j1HHrqfDR0Nfwjmq1r/Gsd5NXfQtbn7YylLpTJudQRBJSRzAjxqsdag2nzPxojo051eMYVwcT7THxr1syTxv7M54P5iXE7cxjTi0ftLspUpN1qPqkjeTVicY7jNn4gOrzrZKHEEgSE3SoW5UP0ywYTjHxl1VmG71gD8aM9G4Sp55o+q40QR3EfrXLPQsKzRStU+PsaK9bizC5zSsoWrT1Rqo2SO81cu7KSlRBSSUki6ouOIqHEYIq1JjcAQAO4CvVi01aOVqiseeSAQO2Y9Y6fyjd30C2skxIHeYHtq5+yRxV5inMbLQkmU5juzEEc7CJrVIRoMQ9lFZ/bOOCSUpMgnMfIfXjVnjcck2QQeJ3d07zVNi8IlJzOK7R0Tv8twrPTuWnSD8Jjw4pLmVLaUk6mdBFgBeocZtg3DYMEm/f7vq9MDKCYzZrAwLDj3mKlZaTMlItEA6HvrXTe7Ic9qAmmHXT61vxHTz30UNjE/3h8BNXjOORAsByj9KVWOT9CjQyNZSK2NEHMtRmwiJ5Vao6CYpeXIhUk9oFaBA5X1q22Thes/eg+qq3OLn4Vodk4xaHElFybAE8eNeb1/VZMDSgk7OnBBTVsyGytjqZUoyrrCS0kKkFMf2h/wBP5qN2wtTYQ20rKUgyZ1nWats+ZxbouJKUk7xJJVykyfE1lcfiASpW83rqw6pR1S5Zhlaul4KUOnU39/f3UcyTMpP6caVrCjskzoAOHjXlYZaO0hJIPAT4d3OumKMtQHjTM/8ArW00KfVPMn5UdiAtUSiJPPzJigiBEKJTc3iR47x5VSGXOw9nFSEqJhObNFrkWmiNrLyhQIBlO/dBBBHlHiaFwO0upRkN8otHO+o3XoTH7WDgPYIkRqPlyqWmwRVzNSJNRJFSJqxo0WzP7IDl8TUOMxxWqJISm0DfxNBIxKoABgRFKwm9ZUUgzAtZ3UI4qA9t/ZXSPSMoN4ZhB0SqT/ImPeush0CwfWYtBIkJ7XuHuk+Fbjpk8r9pwyW0IcXlWYcnKBa8DfavE63IvicafCtnZii9Do5Ggz9fW+rpI0rqqujzDgBebQtV9JTE3gQePGmK6J4U/wB2R3LV8T9RWEu6YrpF+jKjD9BFxi08848xPwrQ+kts/sqVCxS4PaCKqcJgRhtoJbBJSHEwTEwtKtfOtN07azYN3llV5KHzrizzXxWOa8m0F8jRxxTx0OtewLkOpPBQPlBpHdaRpN+Gvur6B04s5Kpm39IbAD6Fn7yAT4GKqegBKccjdIUPjV36RyIw6zvSof0mqXoLh1HFtkIXEntQYHGTXnY5X0TX0Zs1WWx3SVvJiHgPxk+d/jWZVjuIrX9PG8uKd5gHzEfCsA4L16fRy1YYP6I5cqqTCsVilEWUU76iRilWUV23iB4UMthShJISI+rUCsEGK6xeDqTOxW06a8bUNjOi7TiwomOPOPCjS2Z8ONO6s/RFXZDRGjYDP4fdUw2ExwrwQr6IpUoV9GnYhU7DY4VVY9LTbhQMM4oCO0ASDO8QKteqV9EfOlDS+Ht/WiwHsbNbyiM6JmU5tJ5VNjMrLK1g3P7tJPFXrHvCZ8xUuzdmLcUSoEJHt5A0Xtvoz+1BtKiEBsyAm8jekg2g8da8rreqw6lCXjn6HThxy5Rgv/lmQZQ0CBbU/Kq37YQdWlDxFdeT0Uwp9Zhs/wAiB7hUauheBUSDhkiN4KhM8IO6sY94xf0sb6R+5y1rbjYHqq8cv+6pE7dbVvPkPnXSF+jnZ6v7kjuWv50M56LcCdOtT/OD70mtF3np37/oR8GzBI2uyfvHxBoLaRadIIWBa8gj4VqtrejUJcbGHQ6pBMOFxTVha6YjdOtWH/1en7rmXvAV7gK1/wDU6ZU9XJPwsjmyWE6da35079k4LbP8wrojvorUdMUB/wBr/wDVBueiZ3diWz3pUPcatd16Zr8QvhZmIGz1bik9yhT/ALOc/D7R861S/RNidz7Z8Vj4Go1+i3Gbltkf9RQ9hFUu59M/zoPh5rwZz9lWPunyotpjKgqVqbAVZq9G+PTolKv4XE/GKenolj02WwojjCFR4pMxVfG4JcTX6h6M14NT6K8HdbhG63hYe9flRO2X52shP4Wo8+18RV/0OwXVsq7BRfKARBhI1PerMfGqTpTsDFKxXXsZBISJgFSSAQTdJtXzufLDJ1MrdKmrO2CaijVGo3doNoHbWkeN+6N/hWa6P7AWXVnFqcdWBN1qyTMWAgEVqg022M2VCI0IAB84mvKnHHCVJ39kb234MmjZzz+PGICFIaCkmVjKVBAiyTe8ndvrS7bwfXMuNgwVpIBOg5mKf1ri/UGQfiULnuTu8fKoiylIlXbJIEntakAW030ZM8pOL408DjBLkxiegLaf7XEpHEAAf1H4UdhuieCT/ivHxj/KAPbWtTh0j7o8ABTpq59wyvbU/wBhrHD2K/KCEgMA5RCc+Xs7rancKkJc4oTyAJ+Xuomb1Es1y+o3sabexzH0huEYnQGUJPtUPhWLeCbkpI8a1npLey4pP/ST/Uusg46FJjjrO6vte3J+hD7I8rP+Jjdn4ohSiT2bT8qhxK2jonxMz76ahYCSCRJOlObSK9Tg5t2b1h3MEqGhFTSfw1kGtorRYXTuvpUn2yvh7f0qFqXBeo1cq/D7q8Sr8BrKfbK+fn+lL9uK/wCbz/SnqkPUzVyr8BovZuFU6sJykDeToBxrEHpAr/m/N+lbXoZi+swy1qzSpdr37G6fGk5SHrZqGFqaWETKPViIgwSI7wDrR+Fdk1ncQFoIUXCUTIk30jfrqb86N2dibGK+d7vj9OdxXKOrppaluaIU4UA3ijU6cRXg2zrDU04UKh0VJ1tTqFRPSUwOinBVKwoVSZkHSkQgAAJAAAgAaCLAUtSJTRb4EIE06Ka44EiVEAcT9XorCsBX19AV29N27P1G8Vt7szlljEgmvAVV7cQtK4SV3+6mDrxyijsDh1IbGc9vUiZiQP1vzrr6ns0sGJ5NSdeDOGdSlVBBqFxwC5MVGtazoMo4mCfAA+/ypEMgGdTxNz3Dh4V4b92dKQ1bqj6g1+8r4DU+ykRhgDJ7SuJ3dw0HhUxpKV7bDEUkHUTyNRPNyIiIII0+6Qd3l4VMaaTUqwPKqNVeJ4Xr3Vk8vbT0+5VlftR14JHUJSpRUAcxACRGvutzNU72zn1CcRisg/C0Mo7syquts4vqW5SJUbCeWp8JHnWHxONUoypRUa97tvQTyQUtkvet3+py5syi6K/pDg2kuwgqUMo7SlFRJvN+HKqk4dNWWLOYiahcZTFlX7x+lfS44aIqN3RwybbsrTgkcB5Cmq2ej8NFrTwphQeIrayTbK6IYT8CvzGmK6HYU6JV+Y1o69FZWzo0r2MwroVhuCvzUw9CcN/z/m/StWU1GpPKi2LSjKq6B4c/4n5h8qKweHRhChpCSpKSTeT6xmbR9CrjF4kITO86VnsZhUunMoqCuIUR7NKuCbInS4Lfa21S8YISDlIFtwvAnnTNiYdLmYKIT2ZSdII0rOrwbyRZzrBuChfz/Sitk7V6pQDycloueyqbETFrV53dMM5QUkrovp5JOi/Rs9/dfuWPnXnf2hsEqBgamxqJtLa7tPQDuM25ZkzPlUqkvJHZcCuSVSfymvmqd7neLhtutlSWys5zCfVtmO6dN9Wu0XHGlABOYEawfGaoNhbKKnwpSv3YObJlvnGpnhN6unsdiEqIyFQBscuvlT6mOFNLFvtvZONzd6iL7Uc/wz5Kp32woatn2j/TT07Vd3sn8p+uFe+0lOy11JGYQVaZQd+lYVfg0ssdmYsuIC8sA6X4WnT6ipsRisg0mbC9+W6nISEJAFgBA8Kzju0VF8wQCm4CuBFtRvF/Gu3tvSLqMu6+Vc/4MM2TStuWE4vFWKilRVJToJA7PqpOmuut6YlxWWUktZZk5xcbsyUzBinYIy4hbiE5RClZiLkkiwVcyIOhirHa21klJQ0gJETMDTfYCIi8zbfX2caSUYqjzHHy2U+xNrrQ4CXM6SYIJJ1iCPOjei2MU91zqtVuqMcAIAHkBVTi150ZG05lWVmSoEGDIgAd2/jVl0IaysEHXOa83vEv5WX/AHk36b8YZs7HuuKdCmsgSYSTPa427ovVgCd+vLSeVOWqNdOJtQTm0mxMrBi3Z7Ws/Kvj1inl/BD9z0XJILJr08BQmE2oy4rKlXa4EETHCaNmoninjemUaf1BNPgTKd9Nyjv8aWvTUJN8jFphNOUaq8V0gabNjnUNwMjxNdHT9JLLNJImU0kVPSjGZnFIFktpKR3/AHj5+6sBsvafXOqSICQbHiONXm1sSeqdXPaUIBie0tQExv1mszsLZpbxKklKkykGDY62NuPKvuYxUIqK8Hmt2y7xeGFpkd5FCpw4P3fcR5xWnZwyXUGZG7yqvd6PLB7JBHeU09QnEpHcIRqI7r+41AWlDjHj8a0TeyFjVKk9xze0H4UYNlEj1yPCjUGk0U14qNAvbVaG8nuE+2g39uD7qfOima6ki4z0inI1NZp3a7h3x3CgnMQVG5J9tPSydZZbaxMrsZsNKDQ6agcTBjhTkk8K0jsjN8hiF1MIOtBKcgSTlHEwI86B2ptlLDfWSFjMEwMs3nnyq0yWi6/ZG/wJniAB7RXjgknQrHctY+NZljpyyfWC094n+kmi2umeFJgrI/lV8RUyx45cpDU5IvU4dQ0dcHiFf1A1Mhx8aPnxSPhFVbPSPDK0eb7swB9tWDGNQr1VA9xn3Vzy6Hp5cxRSzZF5CU4vEf4oP8qvgup8LjHgZlH5SPjULbiTvHnRbaBWb7V0r/KV8Tk9yR7ELXq5A4JAHnM0G7giYGdR3CY8ItRyGxU6GRW+DpceBVBEzyue7KVzZrk/8Q5Hcgi3CU05GzHNP2hz8rf+ytEzhZqwwmBE10UkRyDbE2SvL2idImEgnvgCi3tnBCClHZO4i1+ffNWjuLQgd3Cs5tvbJVISMvPfWM4xlyjVbFBjsQd6iTzNVaHu0DMDfNqF6Q7XQwnO4TKiYAuVHU79OdYxfTdZWClAQjzV56eykopcCs6TjEhGIC0RAyq1tz08fOtqkzcb7+dc+wbmZAVMyJ86tFbXdKAlJygCJGtufyrye4dDLqXFx8G+LIoXZp8Ri0I9ZQnWN5i9hrVNi+kEpUWk6RJVreYIA528RVIylWYKKjmkHnbmakP3jxPvJO7upYO04ce892OWaT4IX8Q65661X3SY8tKjDIqYkCo1KtNvGwr0owUdoqjBtvk8wyFOITbs5nbiR2ISJG+65HMCn7SYDmLbUmBIcBgRISoEbtO1VX0VxSnn3FLUISiITvEiw4ySPKtViWwXkqbsA1vsSVKAJ7pQarwJcjeoAEAQOFqTKoVPlPI0l+FQaFVjdqlrVl0jiEgi3MG1VTnS9M2bV4kfKtVNDYrZ6HPXQlXeL+YvTBoyxNNKqkcdJsTQ60zW6MRc1Mz0gNIFUxWWPV5kyNYop/Z6mlZVg5gJvzAPxoHCvdmJ4iiG3Vn1lAxYR/7qeEUVPTBhXUpIBykEzuJHxiufYbBF11DYKEFRyhTighI5qUbAa10DpRtBxGXq1EQjTUTJ3GsHtTai3gkLSgRJlKcpM8eNWuCfJu+i3RTD4cKO0HGEqdUGmv3jawlMFS3AbgEgZQToTuqZz0f4FzrFM4hQSltSgkONuStIUopFrpSnImRJlR4VzBARvCh3R8q0GweiRxaczTqBBIhYNoGbUTUjNNtD0UOIDQQ+FOLUEKSWyAmElTqsySeyiDukwONUuDQdm4x5twJcUgJQooJA7QCrZgOO+gXsJi8OopD5BEjsuqFpki8CJE99SYHBPPrdW64C4oglTigSrW8g0xGy2b0taWtKVJUgkwCrKUzukzW7ypcTmRCVASpGg/iRy5bq4+vo9iBcIC/4FpPsrcdFXXCwkOJUlSCUwrWB6vsPsp20GxfNvjeY77UQjEJ/EPOgcQ6UIzRPxqLD4py6nEJSkBJsbjNoSDu7pp6w0mgwrwnUedW2HXa2+s0mOAPgKPwK40Cfyp+VJyGkFY9dUOOVvNhRmMxSiT2iO63urK9K8Zkbygwpzs9w+8fL31mWzHbf2mXXOyBoQJiABcn65Vmdq4LKJjvtAPON26tn0M2O2+8HHjCVL6ptP4ikFSvIA+dWXTno4htoOJSAMxQYsCJIBjjIHnSskk6HO58I2Tw91quorP8AQYZcIjx95rQZidBSKTFEew1GVWgUzEOJRGdVz6qRdSjwAGteZQ4593qkEb4Lh5i+VPjPcKTYbsD2ptNrDiXCM0SE7z4ViNsdInHiQDlRpG88a2GI6EsuKKluPKJ1OZE+1HxqAej5g6POjlKP9lCaE4squhm1UsvSuySkg8jaCeVq3WyMWXAp0zDiuxOoQgZU259o/wA1U2C6DMIIJW6uLwSkT35Ug+2tQ0gAABMADSPZSf0LjGiRDk04zUagDupQI0nz+jSLPKRPCkUyaQKP18qVKqYGJIphTRLiIqBQrY5gdQpDUi01CTTFQ4LjSlY2m0d4B3/WtQLVWb25gSFFaRKTcxuNFBaNm4wy76y53a0BiOhzSvUWR3gH5VztxUmiG9ouDRR8yPcaakFGnxPQZz7qkK8SPfV30DwTuEdUHUkNmDIIVuIOnI+ysfszb+ISZLysvA399XLXS50a5Vd4j3UNpglRN0owDyn1rQAUyY5ibG/KqNTTo9ZsnuvWgb6bj7zU/wAKvgRRrHTLDH1gpPemfcDR8oUzHDF5TdKkn64Xra9ANoZw6klRylJvO+dJ7qJa2tgHdS0f4gAfbFWezcHhWyVNJCcwvlJg+GlDr3GrNdsrDNvtFCjC03HMXuOMSfZVBtBaCVJWDAIypSSVGIETwgcN9TNFG5wjy+VTpbbOrvmJ+NTQ3uewghCQdQBNHMm1Qpba/wAYHuQfnXn8U0hMZirwCfeTUtlogfXXOOl+0M7i4NkjImDv+97ZHhWh230qbQFBsArgxvg84isSwkrcQDe6Sq86qSCb99KxSdnUdj7OaYbw4yhS2ZIO+VglQn+eP5RQnS5ZXg3SbaKuZuVp0qz2fhC2VFRGZxzNJ0SICYHgnzNQ+kPIWAyymynW0SByUo/0zR4BFNs9LeHwycygBEybeEbzN7UjWKees0jqkf4ix2o4pb4/xeW6rHAbHQi5la963DmPhNkjkBVp1FqztstRK/AbKQ3JEqWfWWo5lHxiw5C1WKGRXkoIuL/XGpEr4+VIuhQgUvVA7qeFU6TQMjDRGhnvvS5uVSXrxFAURxXurrymvoWpMsUAeKeVRlE6inmlimMFfwaVesJ+uNVz+wh90+dXRVSE7/ZFXZDijJv7HdE9mRyiqnEMEWIg87V0EnlUbrCVeskHvAPwqtRDxnOVJoHFOEaV0LFbFZVfLlm3Zkdx+hvqtxHQ4GcrhHekH3VWtEaGcuxOCkknWhTg4romL6GOjQpVymPfVViejTydWleAn3U9SJpmQ6mkKavXtlkG6SO8GhlYPxqhUVUU1QNWC8JPKoDs/maQA1EYPGONGW1qTyBt4jQ0pwcaa0qWqKDgs0dLMSN6D3p+RFTJ6Z4jg35K/wB1U3UUisMRqIpaUO2X46c4j8KP83zod/pa64ClxKVA/hUts+aVX8qrGcGFWK0oO7NMfmSDQzjcEix5i4PdSpBbCWXLXPx3VaYLE5Vg8Uj2KSr/AE1TMad30KISdOVKSBHbcMtSwpakgIlIbg5iq0lR04xG6DehHX0u4lLSO0hgFazb+0cASlI7kZvzVidk9Knm2w21BVPZmSUnikfe1Nq2HRbAlhqFz1iznWTvJ3TyrJvwaxLxDXIVIE91JNOT30jUXKaQtTTguk6ykA0II0v3/OnJcGhsef1BpwcFDIxzSiUpWhRBgpCkkg8CJ7/KgYXNNJqBUjQx36V5Lh7vr20gJ5qM0OjEpUopStBUnVIUCod6QZFT5aYDVCfr6+jTdN9eUUzBUJJygZhJMTlHE5bxwpqCFCUqBB0IMi30aYBAbr0CkrxpiPV6l30hoENUgGom1GSDuqaol6p76YEkjhTFQKcK8aBjHGQrUAjnQTuxmVGVNIJ45RPsqwcNjXk/CkKkyjX0Ywxv1YHcVfA0M70Ow53LHcr51o3TehH1XH1vp2xOKKE9CWfxLHin5VGvoOx+NYPen29mtG39e2iUIEaCjU/cWlGawPRTDJNxmOvaMjyFjV0dmtqASptBTuGUEDutRLgsO8e8U9FLkaiikxXRDCL/ALqP4VKHxigHfR/hzvcHcU/EVr291Kd31uo1NBoRh1+jfD7nHf8AJ8qcz6OmQf7Z4jeOx/tmttv8RTd3jT1MWiJU7I6NMYe6Ekq/Eo5iO7h4AVbdWKkXXk6/XCoKRAUkaGRw3+B+fnSpcnT9fGpTr5++hcUNDvzRPLhTQycgV72fCoxoPCpONIY0K+v0qtTsZBjMSrtKVfSFLzlIA3THlR7hpQL0WJlN9gSIU6VGUmVJJJyBICT2oySM2W17zxPwWADZJKs0iDYjSe0SVGVGRJ3wLCKK/WvDX650WLSUzuxCSqHSJKiBlkDOsLKSFKIiQBYCQTTm9lAAArVnmQs6gdXkABnTMAuOXjVur/UPhUhFvH4U7DSipVsib9Yc2sx/eSD1mvKMvAxNWGFaDaEoSIAECmM+sfGihRdjSP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48" name="AutoShape 8" descr="data:image/jpeg;base64,/9j/4AAQSkZJRgABAQAAAQABAAD/2wCEAAkGBxQTEhUUExQWFhUXFxgXFxgYGBccHRwcHBcWFxoYGBwaHyggHBwlHRQUIjEhJSkrLi4uGB8zODMsNygtLiwBCgoKDg0OFxAQFywcHBwsLCwsLCwsLCwsLCwsLCwsLCwsLCwsLCwsLCwsLCwsLCwsLCwsLCwrLCwsLCwsLCw3N//AABEIAMIBAwMBIgACEQEDEQH/xAAcAAABBQEBAQAAAAAAAAAAAAAEAAIDBQYBBwj/xABIEAABAgMFBAcEBwYEBQUAAAABAhEAAyEEBRIxQVFhcZEGEyIygaGxQsHR8AcjUmJykuEUM4Ky0vFDU6LCFiRUY+IVRHOTo//EABgBAQEBAQEAAAAAAAAAAAAAAAABAgME/8QAIBEBAQEBAAMAAgMBAAAAAAAAAAERAgMhMRJBBDJRE//aAAwDAQACEQMRAD8A84sk4KKTrlV2O87daR6LYL//AOTmSphxJcISoYUhOJDIAAABYhTnzzjymXML+lIs5KuzixDNLpJzqrTUUbdyjEYx6fYrTIXKlhcycFzAMKUTCMRIIZsmfWPIL1khE2aKgCYtIfPsqIrvpFrdNuXKmomKcoSSzOKgGgLaO8B3pOTMmTCAwUtag+gUokDkYurFfJlkgsklgVZaChMR65QZabSVBCAMKUgvU1epJDsMhlsgQpJoxPARVH3XZErxk0YCuJszptNGiC22RivOim2jntrshlimqlqcHDRnIGu4xKpSSVFcwVrRy5yYtBQS5JABOtRDWVnBQtvZCVF0iqUgZF67CPCJ1XoiuGUASGeuTNz3wAslVC8NwCEu25skDn4tuiH9pO7kPkwxMSHLOGFBL0NIYZxhpmGKqVjsjhl7xnv5xCVmOPAFKw74fLnpT7D+J+EB447i2g+EBam9UlCkFCmU2SgMiSPZ2mIU2mUe8Ftq2FzscvWsAk7DzjoQXETIupV4HJSphoCk+54S2JfEgU+8PURKEIws3aZ38ICioIlSagOipaqk84vLtuVCwDNmJ+yAFDNwzVqKxnpMgrfCMs4auWUmucSy/qrM/awvGy9UopfU01zo4zgVR26Q02gnMknb8YRiJTFKMNYw4mOJMVDYns9nKqJzPz7oiaDrMh0AgHskuRsijhsPYBftEq7LHTOvKBjJIroGr4xYKsagXIIG8jIudfCOWqapk4mLBTHECRV3YZRFVuAwoME8mpCXJJ0GsdgHy1JUWGbHLcCacoi/bUhmxFtct8NNplggpSxBepeBSkaGLiLFV9HDhSgAO9STVgH8oFm29RJJAqXoPR4Gwx3DBUhtitrcKekMVOJ1jgRHAiA5ijuKFghYIBJmEZQ4zlbYbgizu3o9ap/7mzzVg5EIOH8xp5wFYVHbCjZWb6MrwUHVLRKH/cmJH8rxYyfotWP3ttsyOBKvVouJrzxo60ely/o7sSf3t5p/hSkeqjBkjoTdA71rmr4f+KIYa8oaOhMevo6MXInNU4+M33CJ0XPcSfYmHiJxhhrxrDvjmGPbE2S4B7HOWv3pi3uzordVoStUmQlSUEAky2qQ4FRsL+MMNfPbRZyrCHqT80j0m913dJdrvSpIyUQlIIBbEBU4X1IDxUHpFd3/AEEv85/pgrA2rsqIFQPl4ixDZHoRva6l96whzsWr9Iuh0Hu+0yUTZQmScYcYVu2hBCnFDSkRNeUSJ2F8JYnaIbOJUXLHhHpivotknu2lfiEn0ERK+ioaWh/4P1ga8yjoMejH6Lpg/wAVKvBoHm/RtOGQSdvbb3QNYmVJxCmYqYZMR51aNlM6DWhFUyX3hY+MVc/o1aku8iYwdmSTpuiezVFLlOFEaRNYz2TUirU2HOOTJZlrUlQKaZEEHcCDEUmY1NrQUXMmakvrEc5LkOOLRxc1OjvDVzXrWJiGEwokRaiAzesKKLu03CEjt2tPBLN44SRAoumzDOefBveIPRYdcBO9niUWFektX5T8I6Yz+SuF32X/ADl/6fhCTdtnOUxZ8B8Isf2KZ/lr/KfhA1pklJqCHGobL+8MNDmw2b7S/L+mOCw2b7cz/T/TBdkc0FYKAIzhhqp/YLN/mTP9P9MOl3VJWoJRMmKJyACOOpHOL2zgksPnedgiykoc4EVGp+18EjZmaE7Aw/IJcFzJkKxS1JWr7a5aVYR9wKdIJ2sTwjRrnzl9+fOUNmPCOSGjtnsuFLbK8dsEyZYNI1I53vQQsKCah/xFR9SYKkXYk92WjkmDEWI7YPkrZkiFJdC2a6q1AAglS0AMlo7aLxASUh4opkxzDmb9Tq56ix6hB2c4ZabNLGbc4hly2S557opbRPesa3WMxNalS8TJFBUmNXZybPdYUOzMnAzMq4ppCUPvSko/LGMsNlM6ZLkj/GWEH8HemH8gVGk+ki8sJRKTRgV00oUIHCsw/wAIjn1Xfxz08z6RTytRSl8OXBIon0ijXZwnvBUW3XB1KYkg9obuHCIpttlziAEEcv1jLVvtVLkJLgO7PlHqn0f2eVOu9KFpCmWoKCqgKBBcbKEHxMYOXdSu8kZjInSNh9GajLmz7Oo1ITNS35T6p5QNV/SG8ZdntC5SbDJUlLVIYl0g8NYhs17FZARd8iuWY413Rf8ATu6cU2XMCmdBBo9UkEPXYo8oy0mUlJpPwkZFiDn3U1fdFxNizm3pMRM6s2OQFMDSYoDntjh6QmXORLtEjqkzKY0TlnC9Ac2zihmTQqYXKirPEamhNC5ydohvuwzVAkpJ7OJ/ujMs5bnqNsQlTWu3WyStSDOnDCopfEtixIo5gqz3xagCVWqYjsugEYsR0A2DeYv7unC0yJa5iyELltMAbvo7C21DslWesM/ZpSzhxkNkVJSSBuLPTfFS9YoJtjn3lKSUAzLTLVhWOyCpBDpU9Mikht8Ml/RzbznKCfxLQPfFjZpIstrSp8Umb2FEihCtS+8P/CY1araiUVJ6mU4JGSfhDF/JTXL9GzJH7Sh1knFhnJCQHoAAXOnOL2T0EsqcrOk/iWFfzKMGWGcmaBiSj8ISkegjtsuUH2ZYTwT5wiVAOidn/wCll/llwoprXZ5IWQAkgbBurCi6Yqxei2AxkAUEc/8AUFarL8TFYFkw3rDG6zFiq0E+2eZgS8w6HdyNp8PfEYmQPbrUwY6xmrEd2zWXxpF9JZVCHGkZkLDoKRro52RpZVkphentkbPsjj80zkq9HSkgg4e49VfaI0T919dYu7BIwjRz5boAkB1gN2U6cMosV8Y1HPqjUKG2OSqGBJYgqWmKmDDUwalkpc1+cohsdn1MSzWfhGLXTmK+1MlOVS8RWdKRU1MGW5ALE7IrZ1oCTQeMXdiZlPvJbJbbQV0d/dFWmQFvhOWcK223FwGUCKm4QSaAVJjc9Rj7Wn+j+yPPmzj3ZKOrT+NdVHiEgfnjLdKrZ19pmEHvL6tPBJKeThavGNzdclVmuxwPrVoXOLsO0oFQB4JwD+GPJUXhgwrZ2fCDnsxHez8zHF6IvrXYldQsS+rcpZkSy50bEpUZASJqMpUwE0coUOVIOtt8mYACCBsSpn40rFYpEr7J/N+kWscyz6RtMxmxLPu0qdNYvOg1pMu3SSQwW8svmXFH8WihMoJz1yJjtjndXNlrHsrSqm4iI09g6cWbHZFqr9Wy6ZsO9/pKuUeci5lzBjQEh6UIHz+sewzUiYhST3VpIPBQI98eR3apaJmAqokkKAUGBFC4MWJU1kumYodpKQrIulySHFC9AaGNJMugplqK1Y6drjkEJA0Hq+dInsaE4SSU5U7Qzzd/nOD5l6SQEgzEAgAs4fblGpjn1rB9G0KEufZyFJWhSJyBqATgWOHcMWaLGqqlpUQKqqQw29nIw222iWm85C0rdM9KpMzKmJOFOW/CfCCb06SjuIITTCoUd8iN2sRb/qLpLd4RJOEIXiAKVqUy0l3dz3gzjbXnPLtXXSpU/UoCV/iT2TzYHxiitUxKk98MQ2fk0H9D5SkyJiZwKEJWFAqBALirPpQVhPpnpo7l/eDQCvzzi1vW8BgWH0pGfsl6SEqP1iK5dpO3jCtdpQvFhWk0oxB9I1cZmqha6wojnllEQoxrrlU0yekZqHOOdcN/IwK331cwPQRw4dr/AMZPvjW1nINEwb+RgK9ljCGOsRKnShsPgTFjc4lqOIhKQCwcAB9p2gbNSw2wXMEXDcysJWrsqOVKpB9FEcgdppamYlICE5JbxMdtl5SwMEtYIGZBckmpO87+MComAgs+T1BD7ss4zT77q2uoviLagch+sWbk6CM5Y7bMQB9QopJJJSQotuFNm2F/xFNQRjsxD6PXwcRqVm8tRJkHMwbZ5WtIzErplLZlyZqOIBHkYsrFfspYJSsUDl3DDaxakTT8WixsDtgHrf1inmdKJA9onKuFTcyAPOAbT0us41V4JevgYjXtqFLSQ0Vd7LQBQVirsvSWzqbtkE6KFfJxA9rvSUtRwzE7Gdt2sa5+s2Upiomu+xdfPkyMwtYK/wACe0ryBHjAS1uWEbD6OLG651pOSR1SPJSz5IHOL3TiCvpNvHBZ1IHtkSxwLlXhhBHjHitom4lFsv0jbfSneJVPTKeiEueKj8Ep5mMndtzTpymlofeeyOZ90c3UCTv8o54xq7N0AtKs1SUjepRPkn3xbWX6NB/i2mmxCGPNRPpAYSpbJvAPFnYujVomjsSVnfhYfmWwj166rplSEJTKlgYQBjYYjvUpnJgwjaR6wRDYApMqWFhlhCcQBdjhqH1rHn3SK29RPmoS4JOMFh7Xa13k8o9EWvZ5xVXjIkKHWT5cs9W4xLDsHo70OY5wHl6r1nTCwJWrYz8g0H2K6LcpICZSkjasJTr99j6x6NYLQhSAqThCDlhASNmQaKKwXuh1KmTO6kIAOuZUedP4DBMVNm6GzCuWufNljApJZIJNCCzskab4ivU2b9oXgkdYp8SlKWoID5lgwqa1OsWtrv0KkrIzxEB6Bg5B3Uwv4xQXPdCrTVyEAu+WIn2jx0Gg8+/h55/t18Y8m/IMl3hhHYMqX/8AGEDzT2jziy6PJTOK8ZK0lkKd6g1IBzyaAp/Rop7va8R72ixu6fLs6UoUtIUVOQKlzQCkdvL5PF+GcfXDjxdflt2tUOg9h/yf/wBJv9UL/gawf5A/PM/qi3TMhTJlPLnSPM9CrT0Ssbfuv9c3+qOwcu0sWhQNfNWEmOpBGrRx46DGHRd9G7kVbZwlJy7y1fZTqRvOQGvOPTD9H0lM4LT+7CADKV2hiZnc6M1Ntd0GfRxcH7NZgpQaZMZa9ocdlPgPMmNaRFrLJzOglmUkgJKFEEBSFKBB0IDt5QJcnQMdW1oUrrAVAKlqoUv2SQoEAkVaNuFQ8GIryrpH0btEmfLlSDMXKmZKzKGbF1mEBIFXG2o0gwdCpx7trWDr9X8FvHpOEGJEIEB5Re/RC02eSqdiTOwB1AiYDh1LGYoFs+EWd0dHLSuUibL/AGcJUkFLhaCx2gILR6OUiH2heEpCUpJU7uSAAG2AuaiAwE3oxbD3kWdX8aj/ADSxFXaOg1oP+BKbYlUsfAtHqk+YQtKUpSXckkkMAQKAAua7sodTrMNO6DzKh7oDyZPQyekN+yJP8cs+q4GX0InH/wBqecv+uPX0VmKFGDACn2X98dQl1rdmS1A2wH1MEx5RdnQmc6vqVIYDLqqu/wB+NpcUlEmyIlJLlJUF7cZUSoKGhrlsaNDYZqlYiUpSlyzGpYs5Dbtp0igE1ZmLEtCVFk97IDHOrlw2cYLgZViQpWIy0qV9opBPPxiOfdiEp6x2JagA1U22LCZMHVqJwEpd+rNHGmx90MtK2lAlIVkwJYPjo5GjxAJKAG0+US9dsAEST1fVhRSkFx3d6sO54HGyAcVk5wyaosWzYtxakSiWnGUYi4+6W255aiIxhKcQUWcCqSMyA4epz2QGVuObb5k1Kp2FMpjiSwDuCzNq7HPSLS+rOZsifLFVKSW44Q3mmLMWVphTiJftOcgG03dk84CRNBJOhSk1pqqAreiciZLsspExJSRjcEhx2zhBG8F4oP8AhqcVElkgEkVqcSsRJbcVNvjZGa9A5O6EZSvaIT5mAysvo6pX71YCc8OZORL6Z1bcHeCrTbzZ2lSJSpiiHfjR1Hwi+KUjIOdqvhEc1ZMW230Yzhsdqm1nTRLSfYl58Cf7wXYrtlSi6E1+0anmYEv7pbKs03qQnGadYQ1H0rmd0TTb7D4ZCDMWwJJDIS4BD7aERArPftqx4VTkJDZmWo+FFQrZ0ktcv/Elqyb6tYzIGq98Hy7HJmAKm2ibjIGJky8L0fDR2eJbVc0iYB/zMyhBBKEk0L57I0jOzul8/EXIfXs/+UcgS9hYkTlpWu0KUDUpRLYk1o/GFHG8+T/XonXgz3zXn7mNN0Aug2i1oCv3aPrF72IYeJbweD0WWwp7lnnTTtVjbnRManodednlkjqUSFKIokoJUBtYl8zSOrha9Hl0AAiR4Cs9ulq7qh6Hzgp4gWUOBiNZhoVFBCTEoMCBUPSuAIxRFMtQVMSwX2cTkpUB7ORIrlCxR14I5+1BUwEBYASpyUKHtJNHzyMdlWoKmFQStsIHaSU6qoH4wsUdeA4m2oCiQiaSansKADBsyGPBJMNk2p1rISpqFiGJoAGB4HlEoERyzrtr8PJoKYu8paAQEzf/AK101YOHPg4imFrSxSsLCVhZLJU7YhmAHFF7NYNts6sVkzvpP3V+sv4RBJNtkvqihCZgBCgOwdjZAUG4tCtNqBQEAKd0+yW7z55ZQ1RhhVASWm1JwBDKd0+yW7z55QploQ6QlKnB7SiCzehc7IFXaQN/CEETFaBI2mAnRbUhcxZCgDlQueykZeBgUWwdSEAKKiU0AOmHM+Bh3UIHeJUeQ+JiVFpaiezwDHzzgHWpSjLALJUsFA24faLCuVOJA1gOXLTjVmosnVhmrZ8YmAc4lEqVk52bBoA+gEQlgtWwJT6rgJus0FBsFIjUYQBOQptNBDVMM+0eQ/WAbU5V+dsVN9X3LsxAIK5hGIAUAG0nWLOZP/tGa6UDGES0jtzlpQ4Hawh1EDbrTfAec3gSpSlkuVKJVxJeNd0fv1CLOgTFhy6S7PQkCmrACKO/7AJZYNQlJw1Dj3hmiiVBXodrlWS0hIVPPZdmDZtm4OyLK5rHJs6VBE3GCXrnk2gAjykGJUWhQyUYH6x6jMvuUCa+kKPLTN4chChqY065pMSWJAUsBQxBjTPURLY7qXMWEJYqOSQcR/0uB4kRpZPRifZVJmgCYQC6QO7lvrlp5wNVUvGlQEtcxA2Go5KcDwaNLdnThKEJROKcQBcnEl2WpLuyg3Z2jLKALbb0TysrSErAASBQitXGYptAjFdIJTYFb1ofeFY8+E0axR7FZOlUiZkT4FKv5CT5Qem8JZDhTDfT1aPnqWSSOPzt9YvzMtNmlpmy7QodrCoJXUfZISFEse1mkNhyqIGPbUzQcqxIlUeK2bp5ak94ypn45csn8wCVRb2X6SF5Ks4JNHRMmh+CV4kw9GPVwqJAY88va/5hJEtQfElIcAgEs7sA7O+kVczpJapayg9UsgA0xpz8SIGPWIeI8rkdNZ4LKkn+GaD5FIg6X08I70ucPBB/3RB6HNVRttOf6PDJy2EYSX9Icpw5XrQyzn4eMFL6XBY7KJqt2DD5rIA5wF3NU8AT54Ck10Vl4fpFZdV6mdNKJiClODEO2CTUBiwYZ6Exc4kpUnCkA1D5nJ9eEFMSmYqoSw2qoPOO/sg9tRVuTQcz8IkXMJzJPGGFUEPQQnugJ4Z8845UmIlLgHpFfSbHIKzVZolO1TUG4bTAFW68JVnGJa0oG1RAf48BFdY+ktmtCsCJqVK0DKSeKcQD+EeR3raptoWZk1WJRyGgGxI0EBSZpQoKBIUkgjbSIuPc7VPEpOObMTLTtJFfwjPlANz3vJnKmGUFEJwjEvU9ouB8YzVmu6XbyLQqYrCwSpGXaSGVU5JNMo0NhsqJQKZaQkUdtS2ZOprFFlNnPA02a0A2y80pyqYyF79KBUJOI7B3fE6+HOA014XwlAJfLM6RnEX4mba5K0glMtzWnaY1bd2aboy9tt65jYjTYKDl747YJgC0uWD1PviGNX0tsJRIlqckrVR8/b9wHOMh+yK2RqL4vRMxUlAVjEpJKlbVGnkGhSVIVlFpGYFhMPTYDqI1abKh9YntFhQSMBO8KDeFH5xBk0WZgzJhRrpVgoKD183hRMNUfQ3pAuTakqJYEFOW1jXlHsV39JJSwMfZ3ioj56kIOIEZguPCsai8pK5NnUoFkzsJw6pxVIGhBD5RdMj0K++k92LVhWOtIPeSkMDuJIPiIyd5yJC1E2eaClQAVLmhRdgwLk0ID1cmsZWzqlIkhUxKZhWT2cRCgASNMsiaiGoMpXc61HhiblF1MH2i51Z9UrLOWsLHJTKP5oGtjqwhc0J+7MSuXXJ2YpJ3vElnXMFZc1K/Fj5/GLq7OkJSrBaJYWNUqoSNyxX1EFZxNgmEHCAofdWhXklSvSLC4LpK5oxHAEjFpiPDUNtMek2Xofd1sliZKDA5gMCDqFNUHx8oSPoxlIUFImKSRx95MVNZxEpJmIShghALNucepjsmwmZPUlIBP6D4xpp/QeYlupmoQQCO0hSnds+2G7um+K5XRS2y5hWkSlEl+ytSTkBkpJ2bYmGqpdiMtfaGRyHAxdybBaJiOxLHiG9Yr5thtiFhSrNMJBdwULD+CgYOV0rtKAypc1A1+pmeuEjziwZm8bItCmmJqJgppkaQrdalhTOQCTnx0ia874lzFoxHCAXViLPQ1cmOXpNkzSjq5gUQlilAxklyaBD7o5ebm3izn67/AMbvnnyS9fEvQyaTaq6y1eqI3Ew1Tx/2qjM9E7jn9cJhkqlowqGKaQlRcpbsVIy1jSXmuVJTjmzKIqoJGQIIFKqzO7WHi5vPMlP5HfPfkt5+HGZprsjsxGFOJaky0jMqI/sOcYu8/pEbsWSUz0ClhyeCRrxMVKbpttsUF2hakp+//tQKDyjo4tPbemMhKxLsyTPmqISFFwlyWzbLgPGML0rvk2meVO6U9hDZHaofiIfgBF7fF3SbFZ1KR2py+wlasxiBxFOzs4st0UfRC7EWi0plqXgcKCCE4u3hUU0yYBKjXYICrVY5jEsH2PXlAM6rHwjcX5KkhbSQXSzqYBK2DKKQMgWJjJ3pJwrWN4POIrTdBbeESZoOiweaQP8AbBV7X+EAhR7RrgTnsD7KAZ8oxFjtS0YggtiZ9tHy2ZmHIkk+MBNbrwmTqGifsjLxOZgQWYmDpUg6CCZdnMBUixq0ESybDMJ7sXyLM1WFIJB1CW+d0ALd934R2u8c9nCLFNlCcg3zwhsuY/vz5xPZsJzeuxudTxygOpTTPh+r5RIhB3fPhvjomdkjJ9HrwjiZoApwHLXzgHYztHP4wokl2mg7Q/O3rCgMvIu4Mc45e1sUmR1BUVBwoZUY6fpFwlmy8vKI50lKgQoCoao8HHMRBnLlu8zFEiamXh1LvloB8YtZEmZLmFU3tJKCkLSKO4YnCNj1igmyzKmFJJG8bNDTODrDe6kKIK+y2Y1yo0UFz7IFGXQFJnKBUnCQylEpBUk4g+IU3bRD5l0EhwtXtKSDUAUwsTVt+dRTOOSbfInd+WyvtDsni4pBqZDv1c81ctNGIOWLg7XAMVA1zXyqSvNq4VVIyLPGwu/p+AWMxaWDnFUM7Z/Ocef33JWhYKgkYge4XBYuTXV1RBYziW65RnDYCoNvcDyhpj2awdPpa8pspW5wDyLRdyukiTmjkY8VCLGe/KnyuACh5MfKNlYp6SkFCiUkDCWYttYwR6Ci/JRzxDwiUXlIPtDxEeOW/pBaJM1SHSoBmxJ0bcRviwubpIqbMEtSUhwWIfMB2Y7gYz+c3G/+fWa9SXabOcyk+DxQdKOlkuxywpErFiVhDMkOxNTsppAMudEF4XfLnhImpxBJxAF2dmq2eZjWsMfbemFutaimViSD7MoHzXmPKLG5LgmiTOTaCxn4AWViUMOIuSda740kmUlAwoSEjYAwiO0WkDMwUPd1zyJH7tAf7RqrmYNVMiptV7BL6cYqT0qkJJxLKiMgkEv45ecQVXTm3dZaEyxlLTX8SqnyCeZg3oVbVSpM7sjCsHte1i7jDgkk5ZmMjabQVzFTDmtRUfHSLa5bVgDEkuSGqRtfYIDQ2OydYhZDvLxBiKBIACK7ScQbKkZXpQhp6xsCfR/fHoNyzUiWwDIbrZizlhTVIHFSQeCC2sYCbNM6fMmN3lE8ATTyAEapFZYkuo8IuJVjoP0iaXIcAt5fCLGXLKQ4BJ3FvnKMqDsdmzOo4eMECWAa5/PzSFJWok/VtrVj4t5QUmXQDCeBNTz4QESS2uW3jsaHhqkgDa3zWHhNHYliRpzrHFISabqONw+PzoEWFKq1IdqZbTyb0iRYSCKE1zzOm+u8Q1CBhZhTKmjlxQh9sPQkgB08CWPIMIAdKyosE1zOJg36xIJZPlUeJprE8tAJKg76uPKCEIVqPE7WegHpwgBRZ9yvFveIUPXZUueynn+kKAGK28Qdvy2cNMyrEa1qfA0ESYQ74gK07TEUfbTjSA500muda1Hnq5gIrbLStwoBQqxGmVQdIq51gkpNMR2OYntRrWh+f0gOYDAcWvCGTQboHNoUMiRHVJ2xCoQD51qUtgou2UWd09IVyAAMq7DnximjhgN/Y+mMpVJspB4hvOL6zXtY1gMko/CQY8iEORMIypwgmPZVIs8zNaFfjQD5wyXcEjEFI6oKBcFKlDydo8qkXtNTks+NfWLGR0mmDPCeY+MB6euVgzUnwUDA023ARhD0oXsRzV8IrrZfUyZnNwjYgN55wGyvTpEmX3lgHYM/jGWtnSVanwJbefgIo8KPvHlDkKAyTzJgJZq5k3vqJ9OWUcKUpzY7oYVKOvhEZs52GARVsg+67aJanUMSTmPeH9IBXZlCJJNjmHJJgrQXv0lK5RlSwUpNVk95W4tkKDkIGu1LBIIzqd547qR2xXQzKUXOo2RZWa63dn4khstjbYaYllmpcEnOlN2TaEeXJ0pYehyqaBxX5rviZN2sASoFwU9o+OlNSOURJXgASSQxfvbKPlWo2GALlhOgLjQgVz0z0d6ikOSjtNkfjoxECibizU41FHZtHAc1O4ROtTA95jmSkO9PWsAptCC1GzA+HhDingRw97PESCNCfHRv7ivHKOzFYTVnGrkbRqKwDpk1D4QqtR80jqpXEnM5e7whCY4JJbTl4ZZxwAkAkgB2oTVvfUUypAMUimVN4ziVCKbTXdvy/tHZiiQKjkPTXdDJB1fyq493zsgCUANVPr4QoAm3gASCU+IMKAHtssIWpIqEqUAdCAc6wIsPugy2kmYrI9ovzgZcnPPTT5+REAM1Hz74FWjdFr1bb+MQGsBVPThELRaKkbh4eURTZe6KK1SX0MMMqDcBjhQYgAMsx1aYL6uF1PjABhEJKYLKACIQkFnaKBmjoREwl7okSgE/NOMTREiXEyJOkEdUAzgl/wBYmkIxCm2sUQCVhfsu+Q37d+sTyJf3T5eTwZKlAZmreMTzgcQz2Fi+WsBELIMmFOLtu2kViwTZwKOPVtHDPpthgCQk8SaDMtx89+sESJYACnJ3e45bDygIgplCnkdzH9ILIDgFqgbafrWHYHclNEnvAkg8X8HhENXtFmKdKgnTbUwE4s6QQZhK1ByySFAD7yyPJL8dnLYgqASQkIzYUFONXyzcw2WxxBTnUKBGuigabctIYtBwtX+IDTe+2A5KsqU0YMS5BrQPWtfCI7RKDkA9kDvVD7CaEv8ArDxLZmLc/I+FOETIUwUVCrOd2h8ICqVNJVXEXdyHJPzrEk1ZJTXYGxDdoNuvjBqrKQSThJrUVfjnWIbSne2icIyLu5Zidd4gIiSKKSpORyORyO+HLU4IATnUkUz2g+sQIlnF2mPD13+sTy0gAh/XZvL7eUQSpByLU1OnD+0clymdgAG0FPGvnviOROSR3jQ7Rkz+6HGYcdAl1DLlRtCW37ooYbMoZk+CS3gxhQrRZ1BRrh3HTzjkBJau6riPQRXTgxDU/sIUKM/sRzFGnz7Qjk7veHvhQoobt4xFP18YUKAr5kSShUQoUSCNQofnZDECFCihyBEiBXwhQokDFZ+PviRQpy98KFAWFnHp8IKmj6t9QC0KFGhLZh2Sf+2o+OHOJMIwq4t6R2FARWYfWAaYle6D5I9R5gv6CFCgOBIBUGoUhxxAeJkUJbf6QoUA6yByQciKj54mHNlw94hQoBpy/hH8wHpHFDsj50jsKAbZM+Q/lpEkk+j+RrChRAKVHFnqfJVIitSRiRT2T/LChRQBKSPniIeqYcnLUo8KFAHyTQQoU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50" name="AutoShape 10" descr="data:image/jpeg;base64,/9j/4AAQSkZJRgABAQAAAQABAAD/2wCEAAkGBxQTEhUUExQWFhUXFxgXFxgYGBccHRwcHBcWFxoYGBwaHyggHBwlHRQUIjEhJSkrLi4uGB8zODMsNygtLiwBCgoKDg0OFxAQFywcHBwsLCwsLCwsLCwsLCwsLCwsLCwsLCwsLCwsLCwsLCwsLCwsLCwsLCwrLCwsLCwsLCw3N//AABEIAMIBAwMBIgACEQEDEQH/xAAcAAABBQEBAQAAAAAAAAAAAAAEAAIDBQYBBwj/xABIEAABAgMFBAcEBwYEBQUAAAABAhEAAyEEBRIxQVFhcZEGEyIygaGxQsHR8AcjUmJykuEUM4Ky0vFDU6LCFiRUY+IVRHOTo//EABgBAQEBAQEAAAAAAAAAAAAAAAABAgME/8QAIBEBAQEBAAMAAgMBAAAAAAAAAAERAgMhMRJBBDJRE//aAAwDAQACEQMRAD8A84sk4KKTrlV2O87daR6LYL//AOTmSphxJcISoYUhOJDIAAABYhTnzzjymXML+lIs5KuzixDNLpJzqrTUUbdyjEYx6fYrTIXKlhcycFzAMKUTCMRIIZsmfWPIL1khE2aKgCYtIfPsqIrvpFrdNuXKmomKcoSSzOKgGgLaO8B3pOTMmTCAwUtag+gUokDkYurFfJlkgsklgVZaChMR65QZabSVBCAMKUgvU1epJDsMhlsgQpJoxPARVH3XZErxk0YCuJszptNGiC22RivOim2jntrshlimqlqcHDRnIGu4xKpSSVFcwVrRy5yYtBQS5JABOtRDWVnBQtvZCVF0iqUgZF67CPCJ1XoiuGUASGeuTNz3wAslVC8NwCEu25skDn4tuiH9pO7kPkwxMSHLOGFBL0NIYZxhpmGKqVjsjhl7xnv5xCVmOPAFKw74fLnpT7D+J+EB447i2g+EBam9UlCkFCmU2SgMiSPZ2mIU2mUe8Ftq2FzscvWsAk7DzjoQXETIupV4HJSphoCk+54S2JfEgU+8PURKEIws3aZ38ICioIlSagOipaqk84vLtuVCwDNmJ+yAFDNwzVqKxnpMgrfCMs4auWUmucSy/qrM/awvGy9UopfU01zo4zgVR26Q02gnMknb8YRiJTFKMNYw4mOJMVDYns9nKqJzPz7oiaDrMh0AgHskuRsijhsPYBftEq7LHTOvKBjJIroGr4xYKsagXIIG8jIudfCOWqapk4mLBTHECRV3YZRFVuAwoME8mpCXJJ0GsdgHy1JUWGbHLcCacoi/bUhmxFtct8NNplggpSxBepeBSkaGLiLFV9HDhSgAO9STVgH8oFm29RJJAqXoPR4Gwx3DBUhtitrcKekMVOJ1jgRHAiA5ijuKFghYIBJmEZQ4zlbYbgizu3o9ap/7mzzVg5EIOH8xp5wFYVHbCjZWb6MrwUHVLRKH/cmJH8rxYyfotWP3ttsyOBKvVouJrzxo60ely/o7sSf3t5p/hSkeqjBkjoTdA71rmr4f+KIYa8oaOhMevo6MXInNU4+M33CJ0XPcSfYmHiJxhhrxrDvjmGPbE2S4B7HOWv3pi3uzordVoStUmQlSUEAky2qQ4FRsL+MMNfPbRZyrCHqT80j0m913dJdrvSpIyUQlIIBbEBU4X1IDxUHpFd3/AEEv85/pgrA2rsqIFQPl4ixDZHoRva6l96whzsWr9Iuh0Hu+0yUTZQmScYcYVu2hBCnFDSkRNeUSJ2F8JYnaIbOJUXLHhHpivotknu2lfiEn0ERK+ioaWh/4P1ga8yjoMejH6Lpg/wAVKvBoHm/RtOGQSdvbb3QNYmVJxCmYqYZMR51aNlM6DWhFUyX3hY+MVc/o1aku8iYwdmSTpuiezVFLlOFEaRNYz2TUirU2HOOTJZlrUlQKaZEEHcCDEUmY1NrQUXMmakvrEc5LkOOLRxc1OjvDVzXrWJiGEwokRaiAzesKKLu03CEjt2tPBLN44SRAoumzDOefBveIPRYdcBO9niUWFektX5T8I6Yz+SuF32X/ADl/6fhCTdtnOUxZ8B8Isf2KZ/lr/KfhA1pklJqCHGobL+8MNDmw2b7S/L+mOCw2b7cz/T/TBdkc0FYKAIzhhqp/YLN/mTP9P9MOl3VJWoJRMmKJyACOOpHOL2zgksPnedgiykoc4EVGp+18EjZmaE7Aw/IJcFzJkKxS1JWr7a5aVYR9wKdIJ2sTwjRrnzl9+fOUNmPCOSGjtnsuFLbK8dsEyZYNI1I53vQQsKCah/xFR9SYKkXYk92WjkmDEWI7YPkrZkiFJdC2a6q1AAglS0AMlo7aLxASUh4opkxzDmb9Tq56ix6hB2c4ZabNLGbc4hly2S557opbRPesa3WMxNalS8TJFBUmNXZybPdYUOzMnAzMq4ppCUPvSko/LGMsNlM6ZLkj/GWEH8HemH8gVGk+ki8sJRKTRgV00oUIHCsw/wAIjn1Xfxz08z6RTytRSl8OXBIon0ijXZwnvBUW3XB1KYkg9obuHCIpttlziAEEcv1jLVvtVLkJLgO7PlHqn0f2eVOu9KFpCmWoKCqgKBBcbKEHxMYOXdSu8kZjInSNh9GajLmz7Oo1ITNS35T6p5QNV/SG8ZdntC5SbDJUlLVIYl0g8NYhs17FZARd8iuWY413Rf8ATu6cU2XMCmdBBo9UkEPXYo8oy0mUlJpPwkZFiDn3U1fdFxNizm3pMRM6s2OQFMDSYoDntjh6QmXORLtEjqkzKY0TlnC9Ac2zihmTQqYXKirPEamhNC5ydohvuwzVAkpJ7OJ/ujMs5bnqNsQlTWu3WyStSDOnDCopfEtixIo5gqz3xagCVWqYjsugEYsR0A2DeYv7unC0yJa5iyELltMAbvo7C21DslWesM/ZpSzhxkNkVJSSBuLPTfFS9YoJtjn3lKSUAzLTLVhWOyCpBDpU9Mikht8Ml/RzbznKCfxLQPfFjZpIstrSp8Umb2FEihCtS+8P/CY1araiUVJ6mU4JGSfhDF/JTXL9GzJH7Sh1knFhnJCQHoAAXOnOL2T0EsqcrOk/iWFfzKMGWGcmaBiSj8ISkegjtsuUH2ZYTwT5wiVAOidn/wCll/llwoprXZ5IWQAkgbBurCi6Yqxei2AxkAUEc/8AUFarL8TFYFkw3rDG6zFiq0E+2eZgS8w6HdyNp8PfEYmQPbrUwY6xmrEd2zWXxpF9JZVCHGkZkLDoKRro52RpZVkphentkbPsjj80zkq9HSkgg4e49VfaI0T919dYu7BIwjRz5boAkB1gN2U6cMosV8Y1HPqjUKG2OSqGBJYgqWmKmDDUwalkpc1+cohsdn1MSzWfhGLXTmK+1MlOVS8RWdKRU1MGW5ALE7IrZ1oCTQeMXdiZlPvJbJbbQV0d/dFWmQFvhOWcK223FwGUCKm4QSaAVJjc9Rj7Wn+j+yPPmzj3ZKOrT+NdVHiEgfnjLdKrZ19pmEHvL6tPBJKeThavGNzdclVmuxwPrVoXOLsO0oFQB4JwD+GPJUXhgwrZ2fCDnsxHez8zHF6IvrXYldQsS+rcpZkSy50bEpUZASJqMpUwE0coUOVIOtt8mYACCBsSpn40rFYpEr7J/N+kWscyz6RtMxmxLPu0qdNYvOg1pMu3SSQwW8svmXFH8WihMoJz1yJjtjndXNlrHsrSqm4iI09g6cWbHZFqr9Wy6ZsO9/pKuUeci5lzBjQEh6UIHz+sewzUiYhST3VpIPBQI98eR3apaJmAqokkKAUGBFC4MWJU1kumYodpKQrIulySHFC9AaGNJMugplqK1Y6drjkEJA0Hq+dInsaE4SSU5U7Qzzd/nOD5l6SQEgzEAgAs4fblGpjn1rB9G0KEufZyFJWhSJyBqATgWOHcMWaLGqqlpUQKqqQw29nIw222iWm85C0rdM9KpMzKmJOFOW/CfCCb06SjuIITTCoUd8iN2sRb/qLpLd4RJOEIXiAKVqUy0l3dz3gzjbXnPLtXXSpU/UoCV/iT2TzYHxiitUxKk98MQ2fk0H9D5SkyJiZwKEJWFAqBALirPpQVhPpnpo7l/eDQCvzzi1vW8BgWH0pGfsl6SEqP1iK5dpO3jCtdpQvFhWk0oxB9I1cZmqha6wojnllEQoxrrlU0yekZqHOOdcN/IwK331cwPQRw4dr/AMZPvjW1nINEwb+RgK9ljCGOsRKnShsPgTFjc4lqOIhKQCwcAB9p2gbNSw2wXMEXDcysJWrsqOVKpB9FEcgdppamYlICE5JbxMdtl5SwMEtYIGZBckmpO87+MComAgs+T1BD7ss4zT77q2uoviLagch+sWbk6CM5Y7bMQB9QopJJJSQotuFNm2F/xFNQRjsxD6PXwcRqVm8tRJkHMwbZ5WtIzErplLZlyZqOIBHkYsrFfspYJSsUDl3DDaxakTT8WixsDtgHrf1inmdKJA9onKuFTcyAPOAbT0us41V4JevgYjXtqFLSQ0Vd7LQBQVirsvSWzqbtkE6KFfJxA9rvSUtRwzE7Gdt2sa5+s2Upiomu+xdfPkyMwtYK/wACe0ryBHjAS1uWEbD6OLG651pOSR1SPJSz5IHOL3TiCvpNvHBZ1IHtkSxwLlXhhBHjHitom4lFsv0jbfSneJVPTKeiEueKj8Ep5mMndtzTpymlofeeyOZ90c3UCTv8o54xq7N0AtKs1SUjepRPkn3xbWX6NB/i2mmxCGPNRPpAYSpbJvAPFnYujVomjsSVnfhYfmWwj166rplSEJTKlgYQBjYYjvUpnJgwjaR6wRDYApMqWFhlhCcQBdjhqH1rHn3SK29RPmoS4JOMFh7Xa13k8o9EWvZ5xVXjIkKHWT5cs9W4xLDsHo70OY5wHl6r1nTCwJWrYz8g0H2K6LcpICZSkjasJTr99j6x6NYLQhSAqThCDlhASNmQaKKwXuh1KmTO6kIAOuZUedP4DBMVNm6GzCuWufNljApJZIJNCCzskab4ivU2b9oXgkdYp8SlKWoID5lgwqa1OsWtrv0KkrIzxEB6Bg5B3Uwv4xQXPdCrTVyEAu+WIn2jx0Gg8+/h55/t18Y8m/IMl3hhHYMqX/8AGEDzT2jziy6PJTOK8ZK0lkKd6g1IBzyaAp/Rop7va8R72ixu6fLs6UoUtIUVOQKlzQCkdvL5PF+GcfXDjxdflt2tUOg9h/yf/wBJv9UL/gawf5A/PM/qi3TMhTJlPLnSPM9CrT0Ssbfuv9c3+qOwcu0sWhQNfNWEmOpBGrRx46DGHRd9G7kVbZwlJy7y1fZTqRvOQGvOPTD9H0lM4LT+7CADKV2hiZnc6M1Ntd0GfRxcH7NZgpQaZMZa9ocdlPgPMmNaRFrLJzOglmUkgJKFEEBSFKBB0IDt5QJcnQMdW1oUrrAVAKlqoUv2SQoEAkVaNuFQ8GIryrpH0btEmfLlSDMXKmZKzKGbF1mEBIFXG2o0gwdCpx7trWDr9X8FvHpOEGJEIEB5Re/RC02eSqdiTOwB1AiYDh1LGYoFs+EWd0dHLSuUibL/AGcJUkFLhaCx2gILR6OUiH2heEpCUpJU7uSAAG2AuaiAwE3oxbD3kWdX8aj/ADSxFXaOg1oP+BKbYlUsfAtHqk+YQtKUpSXckkkMAQKAAua7sodTrMNO6DzKh7oDyZPQyekN+yJP8cs+q4GX0InH/wBqecv+uPX0VmKFGDACn2X98dQl1rdmS1A2wH1MEx5RdnQmc6vqVIYDLqqu/wB+NpcUlEmyIlJLlJUF7cZUSoKGhrlsaNDYZqlYiUpSlyzGpYs5Dbtp0igE1ZmLEtCVFk97IDHOrlw2cYLgZViQpWIy0qV9opBPPxiOfdiEp6x2JagA1U22LCZMHVqJwEpd+rNHGmx90MtK2lAlIVkwJYPjo5GjxAJKAG0+US9dsAEST1fVhRSkFx3d6sO54HGyAcVk5wyaosWzYtxakSiWnGUYi4+6W255aiIxhKcQUWcCqSMyA4epz2QGVuObb5k1Kp2FMpjiSwDuCzNq7HPSLS+rOZsifLFVKSW44Q3mmLMWVphTiJftOcgG03dk84CRNBJOhSk1pqqAreiciZLsspExJSRjcEhx2zhBG8F4oP8AhqcVElkgEkVqcSsRJbcVNvjZGa9A5O6EZSvaIT5mAysvo6pX71YCc8OZORL6Z1bcHeCrTbzZ2lSJSpiiHfjR1Hwi+KUjIOdqvhEc1ZMW230Yzhsdqm1nTRLSfYl58Cf7wXYrtlSi6E1+0anmYEv7pbKs03qQnGadYQ1H0rmd0TTb7D4ZCDMWwJJDIS4BD7aERArPftqx4VTkJDZmWo+FFQrZ0ktcv/Elqyb6tYzIGq98Hy7HJmAKm2ibjIGJky8L0fDR2eJbVc0iYB/zMyhBBKEk0L57I0jOzul8/EXIfXs/+UcgS9hYkTlpWu0KUDUpRLYk1o/GFHG8+T/XonXgz3zXn7mNN0Aug2i1oCv3aPrF72IYeJbweD0WWwp7lnnTTtVjbnRManodednlkjqUSFKIokoJUBtYl8zSOrha9Hl0AAiR4Cs9ulq7qh6Hzgp4gWUOBiNZhoVFBCTEoMCBUPSuAIxRFMtQVMSwX2cTkpUB7ORIrlCxR14I5+1BUwEBYASpyUKHtJNHzyMdlWoKmFQStsIHaSU6qoH4wsUdeA4m2oCiQiaSansKADBsyGPBJMNk2p1rISpqFiGJoAGB4HlEoERyzrtr8PJoKYu8paAQEzf/AK101YOHPg4imFrSxSsLCVhZLJU7YhmAHFF7NYNts6sVkzvpP3V+sv4RBJNtkvqihCZgBCgOwdjZAUG4tCtNqBQEAKd0+yW7z55ZQ1RhhVASWm1JwBDKd0+yW7z55QploQ6QlKnB7SiCzehc7IFXaQN/CEETFaBI2mAnRbUhcxZCgDlQueykZeBgUWwdSEAKKiU0AOmHM+Bh3UIHeJUeQ+JiVFpaiezwDHzzgHWpSjLALJUsFA24faLCuVOJA1gOXLTjVmosnVhmrZ8YmAc4lEqVk52bBoA+gEQlgtWwJT6rgJus0FBsFIjUYQBOQptNBDVMM+0eQ/WAbU5V+dsVN9X3LsxAIK5hGIAUAG0nWLOZP/tGa6UDGES0jtzlpQ4Hawh1EDbrTfAec3gSpSlkuVKJVxJeNd0fv1CLOgTFhy6S7PQkCmrACKO/7AJZYNQlJw1Dj3hmiiVBXodrlWS0hIVPPZdmDZtm4OyLK5rHJs6VBE3GCXrnk2gAjykGJUWhQyUYH6x6jMvuUCa+kKPLTN4chChqY065pMSWJAUsBQxBjTPURLY7qXMWEJYqOSQcR/0uB4kRpZPRifZVJmgCYQC6QO7lvrlp5wNVUvGlQEtcxA2Go5KcDwaNLdnThKEJROKcQBcnEl2WpLuyg3Z2jLKALbb0TysrSErAASBQitXGYptAjFdIJTYFb1ofeFY8+E0axR7FZOlUiZkT4FKv5CT5Qem8JZDhTDfT1aPnqWSSOPzt9YvzMtNmlpmy7QodrCoJXUfZISFEse1mkNhyqIGPbUzQcqxIlUeK2bp5ak94ypn45csn8wCVRb2X6SF5Ks4JNHRMmh+CV4kw9GPVwqJAY88va/5hJEtQfElIcAgEs7sA7O+kVczpJapayg9UsgA0xpz8SIGPWIeI8rkdNZ4LKkn+GaD5FIg6X08I70ucPBB/3RB6HNVRttOf6PDJy2EYSX9Icpw5XrQyzn4eMFL6XBY7KJqt2DD5rIA5wF3NU8AT54Ck10Vl4fpFZdV6mdNKJiClODEO2CTUBiwYZ6Exc4kpUnCkA1D5nJ9eEFMSmYqoSw2qoPOO/sg9tRVuTQcz8IkXMJzJPGGFUEPQQnugJ4Z8845UmIlLgHpFfSbHIKzVZolO1TUG4bTAFW68JVnGJa0oG1RAf48BFdY+ktmtCsCJqVK0DKSeKcQD+EeR3raptoWZk1WJRyGgGxI0EBSZpQoKBIUkgjbSIuPc7VPEpOObMTLTtJFfwjPlANz3vJnKmGUFEJwjEvU9ouB8YzVmu6XbyLQqYrCwSpGXaSGVU5JNMo0NhsqJQKZaQkUdtS2ZOprFFlNnPA02a0A2y80pyqYyF79KBUJOI7B3fE6+HOA014XwlAJfLM6RnEX4mba5K0glMtzWnaY1bd2aboy9tt65jYjTYKDl747YJgC0uWD1PviGNX0tsJRIlqckrVR8/b9wHOMh+yK2RqL4vRMxUlAVjEpJKlbVGnkGhSVIVlFpGYFhMPTYDqI1abKh9YntFhQSMBO8KDeFH5xBk0WZgzJhRrpVgoKD183hRMNUfQ3pAuTakqJYEFOW1jXlHsV39JJSwMfZ3ioj56kIOIEZguPCsai8pK5NnUoFkzsJw6pxVIGhBD5RdMj0K++k92LVhWOtIPeSkMDuJIPiIyd5yJC1E2eaClQAVLmhRdgwLk0ID1cmsZWzqlIkhUxKZhWT2cRCgASNMsiaiGoMpXc61HhiblF1MH2i51Z9UrLOWsLHJTKP5oGtjqwhc0J+7MSuXXJ2YpJ3vElnXMFZc1K/Fj5/GLq7OkJSrBaJYWNUqoSNyxX1EFZxNgmEHCAofdWhXklSvSLC4LpK5oxHAEjFpiPDUNtMek2Xofd1sliZKDA5gMCDqFNUHx8oSPoxlIUFImKSRx95MVNZxEpJmIShghALNucepjsmwmZPUlIBP6D4xpp/QeYlupmoQQCO0hSnds+2G7um+K5XRS2y5hWkSlEl+ytSTkBkpJ2bYmGqpdiMtfaGRyHAxdybBaJiOxLHiG9Yr5thtiFhSrNMJBdwULD+CgYOV0rtKAypc1A1+pmeuEjziwZm8bItCmmJqJgppkaQrdalhTOQCTnx0ia874lzFoxHCAXViLPQ1cmOXpNkzSjq5gUQlilAxklyaBD7o5ebm3izn67/AMbvnnyS9fEvQyaTaq6y1eqI3Ew1Tx/2qjM9E7jn9cJhkqlowqGKaQlRcpbsVIy1jSXmuVJTjmzKIqoJGQIIFKqzO7WHi5vPMlP5HfPfkt5+HGZprsjsxGFOJaky0jMqI/sOcYu8/pEbsWSUz0ClhyeCRrxMVKbpttsUF2hakp+//tQKDyjo4tPbemMhKxLsyTPmqISFFwlyWzbLgPGML0rvk2meVO6U9hDZHaofiIfgBF7fF3SbFZ1KR2py+wlasxiBxFOzs4st0UfRC7EWi0plqXgcKCCE4u3hUU0yYBKjXYICrVY5jEsH2PXlAM6rHwjcX5KkhbSQXSzqYBK2DKKQMgWJjJ3pJwrWN4POIrTdBbeESZoOiweaQP8AbBV7X+EAhR7RrgTnsD7KAZ8oxFjtS0YggtiZ9tHy2ZmHIkk+MBNbrwmTqGifsjLxOZgQWYmDpUg6CCZdnMBUixq0ESybDMJ7sXyLM1WFIJB1CW+d0ALd934R2u8c9nCLFNlCcg3zwhsuY/vz5xPZsJzeuxudTxygOpTTPh+r5RIhB3fPhvjomdkjJ9HrwjiZoApwHLXzgHYztHP4wokl2mg7Q/O3rCgMvIu4Mc45e1sUmR1BUVBwoZUY6fpFwlmy8vKI50lKgQoCoao8HHMRBnLlu8zFEiamXh1LvloB8YtZEmZLmFU3tJKCkLSKO4YnCNj1igmyzKmFJJG8bNDTODrDe6kKIK+y2Y1yo0UFz7IFGXQFJnKBUnCQylEpBUk4g+IU3bRD5l0EhwtXtKSDUAUwsTVt+dRTOOSbfInd+WyvtDsni4pBqZDv1c81ctNGIOWLg7XAMVA1zXyqSvNq4VVIyLPGwu/p+AWMxaWDnFUM7Z/Ocef33JWhYKgkYge4XBYuTXV1RBYziW65RnDYCoNvcDyhpj2awdPpa8pspW5wDyLRdyukiTmjkY8VCLGe/KnyuACh5MfKNlYp6SkFCiUkDCWYttYwR6Ci/JRzxDwiUXlIPtDxEeOW/pBaJM1SHSoBmxJ0bcRviwubpIqbMEtSUhwWIfMB2Y7gYz+c3G/+fWa9SXabOcyk+DxQdKOlkuxywpErFiVhDMkOxNTsppAMudEF4XfLnhImpxBJxAF2dmq2eZjWsMfbemFutaimViSD7MoHzXmPKLG5LgmiTOTaCxn4AWViUMOIuSda740kmUlAwoSEjYAwiO0WkDMwUPd1zyJH7tAf7RqrmYNVMiptV7BL6cYqT0qkJJxLKiMgkEv45ecQVXTm3dZaEyxlLTX8SqnyCeZg3oVbVSpM7sjCsHte1i7jDgkk5ZmMjabQVzFTDmtRUfHSLa5bVgDEkuSGqRtfYIDQ2OydYhZDvLxBiKBIACK7ScQbKkZXpQhp6xsCfR/fHoNyzUiWwDIbrZizlhTVIHFSQeCC2sYCbNM6fMmN3lE8ATTyAEapFZYkuo8IuJVjoP0iaXIcAt5fCLGXLKQ4BJ3FvnKMqDsdmzOo4eMECWAa5/PzSFJWok/VtrVj4t5QUmXQDCeBNTz4QESS2uW3jsaHhqkgDa3zWHhNHYliRpzrHFISabqONw+PzoEWFKq1IdqZbTyb0iRYSCKE1zzOm+u8Q1CBhZhTKmjlxQh9sPQkgB08CWPIMIAdKyosE1zOJg36xIJZPlUeJprE8tAJKg76uPKCEIVqPE7WegHpwgBRZ9yvFveIUPXZUueynn+kKAGK28Qdvy2cNMyrEa1qfA0ESYQ74gK07TEUfbTjSA500muda1Hnq5gIrbLStwoBQqxGmVQdIq51gkpNMR2OYntRrWh+f0gOYDAcWvCGTQboHNoUMiRHVJ2xCoQD51qUtgou2UWd09IVyAAMq7DnximjhgN/Y+mMpVJspB4hvOL6zXtY1gMko/CQY8iEORMIypwgmPZVIs8zNaFfjQD5wyXcEjEFI6oKBcFKlDydo8qkXtNTks+NfWLGR0mmDPCeY+MB6euVgzUnwUDA023ARhD0oXsRzV8IrrZfUyZnNwjYgN55wGyvTpEmX3lgHYM/jGWtnSVanwJbefgIo8KPvHlDkKAyTzJgJZq5k3vqJ9OWUcKUpzY7oYVKOvhEZs52GARVsg+67aJanUMSTmPeH9IBXZlCJJNjmHJJgrQXv0lK5RlSwUpNVk95W4tkKDkIGu1LBIIzqd547qR2xXQzKUXOo2RZWa63dn4khstjbYaYllmpcEnOlN2TaEeXJ0pYehyqaBxX5rviZN2sASoFwU9o+OlNSOURJXgASSQxfvbKPlWo2GALlhOgLjQgVz0z0d6ikOSjtNkfjoxECibizU41FHZtHAc1O4ROtTA95jmSkO9PWsAptCC1GzA+HhDingRw97PESCNCfHRv7ivHKOzFYTVnGrkbRqKwDpk1D4QqtR80jqpXEnM5e7whCY4JJbTl4ZZxwAkAkgB2oTVvfUUypAMUimVN4ziVCKbTXdvy/tHZiiQKjkPTXdDJB1fyq493zsgCUANVPr4QoAm3gASCU+IMKAHtssIWpIqEqUAdCAc6wIsPugy2kmYrI9ovzgZcnPPTT5+REAM1Hz74FWjdFr1bb+MQGsBVPThELRaKkbh4eURTZe6KK1SX0MMMqDcBjhQYgAMsx1aYL6uF1PjABhEJKYLKACIQkFnaKBmjoREwl7okSgE/NOMTREiXEyJOkEdUAzgl/wBYmkIxCm2sUQCVhfsu+Q37d+sTyJf3T5eTwZKlAZmreMTzgcQz2Fi+WsBELIMmFOLtu2kViwTZwKOPVtHDPpthgCQk8SaDMtx89+sESJYACnJ3e45bDygIgplCnkdzH9ILIDgFqgbafrWHYHclNEnvAkg8X8HhENXtFmKdKgnTbUwE4s6QQZhK1ByySFAD7yyPJL8dnLYgqASQkIzYUFONXyzcw2WxxBTnUKBGuigabctIYtBwtX+IDTe+2A5KsqU0YMS5BrQPWtfCI7RKDkA9kDvVD7CaEv8ArDxLZmLc/I+FOETIUwUVCrOd2h8ICqVNJVXEXdyHJPzrEk1ZJTXYGxDdoNuvjBqrKQSThJrUVfjnWIbSne2icIyLu5Zidd4gIiSKKSpORyORyO+HLU4IATnUkUz2g+sQIlnF2mPD13+sTy0gAh/XZvL7eUQSpByLU1OnD+0clymdgAG0FPGvnviOROSR3jQ7Rkz+6HGYcdAl1DLlRtCW37ooYbMoZk+CS3gxhQrRZ1BRrh3HTzjkBJau6riPQRXTgxDU/sIUKM/sRzFGnz7Qjk7veHvhQoobt4xFP18YUKAr5kSShUQoUSCNQofnZDECFCihyBEiBXwhQokDFZ+PviRQpy98KFAWFnHp8IKmj6t9QC0KFGhLZh2Sf+2o+OHOJMIwq4t6R2FARWYfWAaYle6D5I9R5gv6CFCgOBIBUGoUhxxAeJkUJbf6QoUA6yByQciKj54mHNlw94hQoBpy/hH8wHpHFDsj50jsKAbZM+Q/lpEkk+j+RrChRAKVHFnqfJVIitSRiRT2T/LChRQBKSPniIeqYcnLUo8KFAHyTQQoUKA/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52" name="AutoShape 12" descr="data:image/jpeg;base64,/9j/4AAQSkZJRgABAQAAAQABAAD/2wCEAAkGBxQTEhUUExQVFhUXFRcUGBgYGBgcFxgYFxUXFxcXGBgbHCggGBwlHBcXITEhJSkrLi4uFx8zODMsNygtLisBCgoKDg0OGhAQGiwcHCQsLSwsLCwsLCwsLCwsLCwsLCwsLCwsLCwsLCwsLCwsLCwsLCwsLCwsLCwsLCwsLCwsLP/AABEIALABHgMBIgACEQEDEQH/xAAcAAACAwEBAQEAAAAAAAAAAAAFBgIDBAcBAAj/xABLEAACAQIDBAcEBAsFCAIDAAABAgMAEQQSIQUxQVEGEyJhcYGRMqGxwQdCctEUIzNSYoKSorLC8BVDk9LhJDRTVGODo/EWs0RzlP/EABgBAQEBAQEAAAAAAAAAAAAAAAABAgME/8QAIhEBAQACAgICAwEBAAAAAAAAAAECERIhAzFhgSIyQQQT/9oADAMBAAIRAxEAPwBxkJFrX3HdffpbcD31HA4rNmGt1YjUWPG1x4VqSpBBcm2pqj4A1n2R+THn/Ea11k2LrEngfiaDXbU1O1fdXrfutUimlURG69RZwBqfM1blqDwArZhccQazlvXQrgcEaMG5kG9ezmw/rjpVcEQUsALC4AUAcuGnfxrQYr7/AErOFtnftarFRlGoq8rVUyHdW0ZWNj2t3DxNTKD31blqJWgH7SW6MP0T8KLsNKwYxeyfCiTitYoXsRD2mPM/OseJjonJFrmvvA+f31nljrCg8kVZpo9K17TLAqA1rnu1FhzqmFSUu2+/z3UGCSGqWjopJHWJDckWtY93fy8KzbIoeY/xi6f1rQTpanajHc3xFHYZA09gDcXHDhfvoR0vH4xByS/qT91Zm5K3J+QMqfix9k/E0F2h+Ubxt6AUy9STGABclRYcyaHYjZ4EbM2rWve/G19a3tnjbsDr1RXteiqyafozTNtCPuSRv3Cv81dvhSuNfRNHfH+EEh96D5122Ja3ilXRLSJ06GbGBRppEvhc3+dP8a1z3pOc20TfhJD7lj+6ufn/AF+3o/zftb8UtfSg+VIkH15ZZD/27Rr7m91K4X8Wv2P5KLfSZPfEol/YgW45M7Mzfy+lYpUtH4IvwAq1xntgwSdryrPtEC4ta+t7fOiGATU+FDZ5Artcnfwt8/GsxrLp+lVTSp5a+NSBrowiVrNsIfiI+9fma1NWbYf5CP7NQbxUgK+Br0VR9XhPrUZ5gqlmIAAuSdAPOkvam1HxRyR5hEdABcNJ3k71Tu05nkAbwQrEllF+ZA+J3V82PhG+aIeMi/fSlD0QhsM9ye46e+5NRxHRfDbur95+VTjpORpba+GG/Ew/4if5q8/tjC/8zD/iR/fSY/RvCjTq9ftMfi1CdpdHAzfiI1UA2IJOugN7kkcSPLjfSfY6SNqYT/mYf8VPvr0bQwp//Ii/xU++uNbajWMqnU9W1rkls2bkRoAKY+hnQgYsLI72QWLKoF9dVW/AkanTQVZN/wBLdOi9fhm/voj/ANxD860J1bezIp8HBpK6bdFsDBGiRLklvxdicpNszAk8eQ3A8qEnotgwzFsZGqZbqqkmQkW0yvluTru5itTx2/1nnHTDs3x91VybMUAlmygbySABSv8ARrs4xrJiCWyewgudToSbelvtCim2yJCLlSV3ZgGA5kAmwJ58rVizV00hiZdn3tJisOSOBkjJHlUVxezwNJ0t+ipP8K0sPtOYEgSkAEgWSPd+xRiPCyEDNPJfjYqLei1O1bG2ngRulc+GHmb+Svm2hgRqWfXicJJr/wCLWhO0xJCFlE0hCSRs4ZrgoJFzgj7N6c2QZd275b/depQvDH7PvcXvzGCe/qIahK2znN3TMd12wLk284aq2+05xDRxS9WoRWGhNwb66EcQfSg2IfFKbHEtuvpm/wA9Xs7H1j2dwQbrf7k40/wqrxGE2awOaMNc3P8AsUhueZ/F0AWfE3/3mT1b/PXuJXGKAfwxrH9GQ/CWnZ2LtsPZJ/uE/wD45h8Fqt+jOyDvhA8IMWvwIoCcdi72/C280e3vkpk6B7ZmmWaGc/jY20bXVWvZtdd9LtH2xti7Nwshlgzo5Upfq8WRlJBIs9+Kijy7Tg/4p/wZh/LSnszY7yZgcXiwVNvyg11tyoh/8Vf/AJzF/wCJ/pV7UwptmAf3n/jl/wAlKm1cDFJiXmXExAMbhWWUW7Nh9TnrWtOij31xuLt/+z/Sh+M2NIufq8ZiCy3Kh3uCQdzabjuqZbvtrG3HenO+n2DZcXJIWQrJYplcE5QiqCV9pQbGxI1sajLGRHY2vYDTuZademUAx2zo8UF/HYZ+rlFterZwrAgfmvY9wZqUsaOx4n53+VMr1sw7yjPs2LRv64UtzNx5sfl99OWyYuwf67qWdtYNYpMik6LfXXf3+VZwa8k7r9Ia1Nar3ak77AVZa1dHN8eNZdhH8RH9m9aZdAfA0uYrpJHhIYVYF3ZAQo003XJ4DhuO6ga715LKFUsxAUC5J3ADeaow2JV41kU9llDA9xF6Tdv7WOKbq479SG4b5Wvp+rfdz38rUR2ltN8a4VQRFcZU4uebd3d50e2fgRGObHefkO6qdlbPES8M53nl3Du+NEFNVi167Vic31q7EPuFZ760RU2DDG+Zh4EfMUl9IOkcsU7pGQVQ5e0Lm4Azbrcbjyp7Z8qljuAufAC9cX2jOWZmO9mLHxJuffes1qPts7YechntcC2gtV+wOluJw2YQysoa91u2Uk21sCNdAL76EOL6VKKO1RXQ4pI8VhnxDxoZhmzEi92UA7zra1tKCdHsH10gQKC7tlAtoM9te61j4ZhXnRfaGVJocrNnFwFy6G1mOpHC3pT59FGxgiPinG4FV9O0fT+KtbTRsxgTDwrEvsxr6ka39bnuOWueiSN43lkDl2ztft5b3IVbjQWsBR3pbtwR3DA9tX13KDb2b7ieQ45RSd/aY/ALLdiZCLKCTYEMTbl99ZisuGnZGBJLC+oJ+dFosXGbDJcg3PaOo5W4UqHH66Ka1DE5rWGtvhTSnWfBwy4dyotdGGpOhsb8abtjYzrYI5Pz40f9pFJ95NcnwuOZVOU2B0I4HyroPQyfNhI/0QyfsSyIPcorNVLbyduJgbFkeEn9JTmX4SUBxct2vxsAe4jf76O9KFvA5G+ORJB3A9lj6M9IkmIYk3Y/D4UnokGYT2h4io43GAEDNu3f16UFBJN9TV+IJKgm9+4eXyHrVWxpO0Bx7Q8Ks6MY3JtBSBlEsZS3eNR8KFWN7a35Wqrr+rlhk/MkU+Vxf3VWa6LAGWeYX0upHg1yeHPTyoks996++g+3MX1ThgyrnW2q3vlJ7x+fWWDai3u2IGttOrNgRy1pKGYS2+r8fvpU2nJIWkKgsA18otci4vbXfx8qntHaYK5UmVw3ZIsvEHfx4Vj2biteBANrjvG63pXLy+S4zp6/83hnk93SXRbEquKeF/yOLjYEEfWC5XB7ytj+rSjt/BtC7xN7SSZT32zajuNgfOivSLElJlmTfGyyW52vf1UEeVa/pCgDdViF1EqhSf0lHZJ8UYD9Q1eW8NsTDj5uIFgE/EmwvodOeu6ltcF2nLrrmsAdbDU7/MDyppjbJhmbkpPuvS/iMeoAZ9C1zp3H/wBVmW+mLPytd5Vjpcd/xrQBe3dVaKB4W41aK9DkhOuh8D8K5n07hOTByc4sv7JBt+/XTZ27J8DSP0iKSw4WEayKFkP6KlCLHvJsQP0b0nsYItoynCx4Y6Kl+sIOpuxKxg9wIB9OBuw9H9nZQJGHaI7I/NB+ZpdWAAqDYILX1FPGG6pIkeWYKpsQFRnOXkMl+FuB31f6zfT4rQzaO34YCQ7G432F7eNWDpPgm1/2kC5ClY76CwzFSuYak6WO6gO2toYCOYmOeRy4vJpGRe/s6gW77VWRLAbbhma6yDz0950oth4CToLnupU2ecBJdzHK6g2OUqANL65LMPX1p2wBBjUARxx2zBFdLm+4Mubf431rGWWvlvHx3L0EbZw7tBIsalmZSgC6+12T7ifSudwdDcVK5XqjHa9zLdQNL7rFj4gGutYmRVGbq5bLdiRG7aAc1BA8aW8Xt6KUixkEYvpEjBnJ3hpGsLeHOmEzs/KLZJ6c+x2whDIVzo9gCWS9r8RqOH3UPlGoCC/f91OfSHATTsWijjREQLlzIp4nRb3Ym+4XNauiPQKSdg08iRRjhcdYe4Lw8T76J66pQ2TsiR5kUXzFha2+99Lf1yruGOyYTDLECAqL2jw0uSfUE+C2oP0Y2LGmKnmQs0UJ6qMta7OBZyLACwN/3TQb6TNq9jqQdXuD4aE/yj9qpe+gnba6XvOjIsYRW0JJzErwFraUMwuIaNbKSOJtxrD1OVrH/wB1IvW8Ua58WX0YBidL21HnVkEQG/dX2wdmSYiW0aliq5jqBa5sLkkDjTSnQrEsPZRfGRP5SaZXtSm2IAB8a6L9HU+bDeDyD1KP/OaDRfR1LbtzQr4Z2+Kj40zdHdh/gkbL1oku5fRctgVRbe0b+zeueWtDdtWLPHLH+fC4HiAQPe49K57hcXCVzEMzaXGgAJAPzrokp7SeJXyKk/FRXKds4ExzypnWMZrjMxGZT7JA4i2mnEVMV2IYnG3tlQIPPXxqpsRdTdluO8btPuoOMArAjrCx/Rjlb+XvrZhtkNlIVJ3uRugawtcEXJ763pNvmxqjeyn1NZsZtAMmUfPhqK2r0ZmJ/wB3mt3mNfcWrTB0Sm1PVZTwDOuvf2QRTo3THt/Gk4KCUANfID4MhB94FK8e27rogHqfnT3DstThkw8g0CAG3Bgc1xuvY/CsWH6FwLxY+At8WNZml3YToccGzFja3cLX8uNtK17LxaKwHWAkm5ue7fpTinRPDj6jt45D/JWuHo3EPZw49XH8LCpnMcpp18fmywylc/2xibyMFGYWy7uVyPifWmNcCz7JCN7SIZE/7Tuo9Yww8xTUmwD/AMKMfaAP8V6+xcYQZSQSdCBawUCwGmgFuFTXUjNzvPn8uaY4WwbfYX3i1LkuAWREuSLDgOe/4UzbZUdW8IvcNl8lYa+dqB9W6IALGxtr33NSSrb07RJitDo37JHyqxceLaA+4W9TSde/1SfEE/GvlTT2PQDnXRzOYxOfQDxN10HkTSAnRbEvNKOtZFDDI6iwfsg6DNmFtF1P1acNkMqIBl1PaPO5+6iceITkazcgk7J6K4mKVsphJUAh5I7hs1+OYm4INwe48aaOu2lazLgpB39aPlaiq4hOfxq5ZF/OFXnU0TNs9KJ8OywyYKHrJQerZX7JO64LLYkEjQniL76UsRgsS5P+xkk7zmDE8zo1ifurrU+BjkZXYKzLfKTYlb2vY8L2HpWlIANwFX/pTUc82LtRrK7YWcqEAjMGGjK2sRpmZrDU7jxOlfY/Eox/J46O9tSjqB+qlwK6JhcKsYyooUXZrAW7TEsx8SSST31fas2y+43hnlh+tscbOGw1iZMXiFbXstHIyjXT2t+4Ei45aUvLimUnqpcgvxILG3E7+7jX6GqDQKd6g+IFXcLnlZq9uJYHbM4Gkx7r5dD5Jc8dbij0eOkkijKy3m/JhEVrktoWYliG01BsNa6WdmQnfDEfFF+6vIdlwRdtYYlIuQVRQb9xA0q8+tOfGb2xxYdcNAkI+otz3sd/vNvMUDm2fC7Z3iV3/OYX4k7muN5PrW/FTs7kcLg999dPDUH0r5cK53KaxutEvpztKOOIwhEBdb2C2Fg1wezYaEX8qHx9DIHVSryoSoJ1BFyORHzpz2x0UWcoZLAxtmGo15qe42HpWmLZyLvf01q76QE6L7CXCB8jszPbMxsNFvYADcNT60ezE7zVyCIcGPuq1cWg9lB5m9SqygVNcOx4GrZtp5Rc5VUak2NlHEm3ADXyqiPpJh3bJFiGlf8AQhYIPFzoB31ND2bBPYG25lPlcAn0Jq07HJNyFuOJ31VPMWBBJsQRv5ihO2sZJ+DCRWIYdW/cdxII4juoGAbPtvcDzrw4NOMg8qEbGlJhQn2iLtf87jpw14DStZeg2fg8PMmvckA4MfGsOeos9Ub3xSDcgqs7QPAKPKh7vUOtqAg+Ofn8KpbGP+cfWspkqJYVRZJKTxJqpu+ovIKyyTUCp0mg/HPlHFdf1RQVsM/5p9DTdPBnkY6bxxA+qtSGySeQ8zWpF2NDBjv9fvq1MNbj8Kvr2Z8qltNATru3aXqopw8t/StIeue4XpwAe3Ef1WB9xA+NGML00wze0zJ9pT8VuKxZQ2B6sV6D4XbeHf2ZoyeWdb+hN63pMDuIPhWRuDVMSViWSrBJQblnPM+tWriW5msCyVaGoNq4tudTXGN3VhzVJWoCK4s91Qxm0CBYAVmjNY8W9XYlFjDraw1O4CvHxLHeT61jjbU+PyFTL0FpasOKmuCBmHhUsRiso3E+AvQ6XEZrEK415EetBIEgC7OdefxqWHkIJIN78zVPVvbTjvzXr5YHBv2PU1UGA9xrXzTNoAQF4i2/la27Wh0am9y58Lm1aGm5VFWtLrWaIK8WRvZ1U/qkjj4VF5Naz4OQ5f1pP/sag2QrkREBbskljuzXJsLa2G7jwqfWVlLVEtVGoyVEy1lMlVtNQa2loIek8NtCWPJVZv4QRW0y1UkMY+ovoKDCekbN+Thkb9kfFr+6vPwzFvuiVftMT7rD40cCgLmYhR31X1qOPxbhiOANNgK+ExLe1Mq9yr82zVLZ2BMRLNIzsRbXdvH3VtLE7quGzZbZiuRfznIRfViBV2CWz9mFowxy9q7a8iSRw5WqE2yH4LH6n7hUElZQBewA4d1fHaAB7Ug8yPvrcGH+2ZeSDwU395NCOkm0pTh5QWNijaWHC3IUYGDv9Vj4kD4AUH2piYSjoO2xDLZCzG5FudjUCDBFIYBJfNeTqwDzO74V8Y2CK7qACSNP0TrblpRiDaZw+DfCSQgFp0lWRgVdQpDZRcai458TVTbQjbAiExnr1xBfrL9kxlXsB5sP2RzqoLDoijKGWVgDrqob4EVV/wDD5B+TmS/eGX+HNRXopiesw6gnVewfLd7rUZymuXKxSmuyNoR+xKx+zMbejkVaMbtWP/iN+qj/AMIJpoDVYrU5BUPTLHR+3Gv68Tr8xWmH6SJB7UKHwZh8QaZg3fXKNuSMs8oB/vH97G1amqh/j+kpPrQN5OD8QK1xfSNh/rRyjyU/zUjYzYUscIlYKdLm1tL8xQzBRNLII0TMx5EjQbzpwrXGDrMf0gYT86QfqfcapxPTjC/nt+wa5vtDZ7QkB1Iv3n01q2LZLuAyqCObSIPcSDWcpjPdaxxuXp03ZG1UnQyJfKWIFxbcAK2GaljoY1sMOHbbnzHOjnWVlGkyVEyGsxkrzPQaC1QL1KDDM3cOZqTQxj65P2QT8L0FeevjJWbFuy6rG1uZK28+1celZOukPBV8y33UG9n1rPgZPxanmM37Xa+dUzyZEZuSlvQXrRhMG+VVVWNlC6A8BaqJmSq2erZ4BHrNJDEP+pIin0veh2I27gI/axJkPKKNj+81l99NDQXqOtCn6awboMHLKecj2/djB+NDH6dYyQ5YFji5CKIM3q+Y+lXjQ3RYGVvZRyOdjb1qO0GTCo0uIZRlFwmYFmPAWBpJ6/Gzyos804zhyMzmwyjU5AbDW3AUD2xhljlKKxcrbMTxY8B5W9avFFG39sz4pi0hOX6qA9lRw04nv+FU9HtpNBMjKSNRfkR31c+Da19Dpew32+flWJE7V+Yqq6XLtraMu6SPDr/0lVSRzuAT7xQbE4NDIvXTPK51JdiQBzJJJ8r1aNqZYEdr6gAtlJF9xJIGlYsLsmach9ArnV7gjKDbQXv5EDvtSIboMIZAGMpYHW4ub+ZvWldkLyY+JI+6p4UdWixroqgKPL51ItffWtVehchbaj0N/wDWkLo5jZMHiZoNe43tcLexsRxVgfWmoY9j7Pzb/WsGM2YZZFlaM510DDskjXQ3tcannWaCS7bRtJIx5r/lvVEuB2fLq0SA81sG91jSxtTETQS5WVCrarfsmx4EgkG3hxFWrj2t24mGmbQowtc7rG/A8K53peNs2JPs+OGVI8IqgOrseszm7K0arY9YLDtH0qE+0zCB1sYP43qbpLrn1PsFTpodb0HmxyZwYpVjlTMLEW1utwQbagrVWMSSQKRHEWEomLhiCzC99LEC5N61rGztnszJtWPQlJlB4lFYfuMWP7NEMAVmDGFg+WwYWZGF72urqDwPpS7BtyRYwrxMpBButmGi24a7+6vejO3cmKlYK/4xFLXS3aVnP1rcH4VMsMddEtNP4I1rlCPL7q5n0twmXFv35HX0Fx6g11aPpCh9pQP1WHvGlZsbh8DiSDLGrECwObW3LmKmPVUK2ntHAvs0CMnrjEzSFiQUspuljozMbKoHMUq/Rzgo3x0Ylk6tWUrmuBYjXLc6C/fTjN0HwD+yZU5WZiB6k0K2j0FghjeVcY4VVLEMqkm3AaLc3rpMojB9JbRrKUidnTMAGa2pGhsQBcX0vQnCTp1diLt2cpzbudxbX3Vkl2eZTczZraAkbhuH1jwqpsHbfKundr7zXPz+C+WSO3h8s8dp26Km2GTvLn99h8qLZqH7JfDwwRibEwxnJmtcl7MSb5Vua8m6W7OTc88x/Qjyj1kIq6crRG9bMJALGSQ2RdTfu+VKs30ixKbQ4IHvlkJP7Kr86EdLOlE+JjWFgiXs8ixqVVUPsRm5JuR2j3EDnV40T6UdP5JWMeEGVBpntcn7IOgHedeVqTMTjcQTmeWYnnnb79K24fDsdEUm2/8A1O4edfSRsujDf4W92la0DfQ7pe6sYsQWkQqSp3vcC+W533A0vxo2/TiK9ocGzn/qOf4UB+Nc9WPq5VIOlww8t9dVwpQIMigAgHQAbx3VL0A+I6R7RkVgkMcKEEHLEAbEai8hJPpX2LwONnY9bi3Ckmyh3ta+nYFl3UXxUw0Xmw/d7R+FvOq3ntU2BEHRGFdWZm8LAfM++iEGx8Om6NT3t2vjXr4sDeazy7UUcR8PjTsbMfiBFC7AAZVJFtNbae+1A0xyxpFEZVUILtlFyGUW5m9y5+r9U0M6QbcDrkUgi928tw9dfKl/rCdys3uHurWPSG0bWUFp7swVMi5t7O5zMAP2dwFYuiez1xM7CSYRNkeRXIBLS3BAVSRmPtNa/wBWldHJOp8uApj6MyxK95L5rhYzrYM6stzbuJ386v8AQzbcxImmYiNFIZRotpLIAAZLADtIb6d1I2OgySlRqAxA8OFdQ2RsXsGR2HWzutlAH1ReRzx1Cm/C7+FJi7PTESzOXsOsOQgbwSbH0t61bNhj6KH/AGVB9seWdqLoABYAAcraelDNnARxqim4A387kkn1Na/wgcwK1Bqry9ZTix4+FQ/CzwFUaH6UqdAnqfkB86ol6QPwsPAX95JpTkY1GKU31vauSmUbZDX64ZgdNw08RYVOPBwObxtZt1r/AMppbkxKD2nHrc+6sMu1Y13Fj4CpcRu2z0bn64mJLi2YMMtsxJzX791BsTsjFC8joykfmnWw+z99bE6ZSp7F7fpnN8r++t2F+kJv72EHvRvkfvqdhaj21iE0EzG3BrH1zC9b8N0vmXVkjbyKn3E/CmpOlGz5xaZQO6SO/wC9Yj31YvRrZuI1iZQf+nJu/VuQPSm/gCtndNVc5XjKnuYEHu1A1o9BtBXBOR7A29gnW36N+dDMR9GKn8niGH21De8Fa39FujWIw7TRuQ6dhka+hNmzAAm4t2anQsh2phzulQH7WU/Kp7SvJDIiuTmU/WuL20rXh9hsjElEkXMWysDuJvl0BuPSgeM6PMJC/ULlz5rC2gzXy20NraViZby1r7buMmMsv0RGkNq86w+HhTvtPo/BvC5fAm3peheF2NHoSLi9953cPdXXkwLjo7HNleR3FlCZRYeySN5BrZDsHCp/d5vtEn3E2rK2MCjVyB4jx32v76wTbehA1KnuJLe4k1nsMM+JhgjdlVVVAScoA8BpxO4Vz+HPK2ty8r3twuxsAPh6V7tjbJnsi6Rg3tuueGnKtvRwMJ42QgMrIbm1gAwzGx0PZvW8YhqxnRNMNEpxchRbGyILszEA5rA6kDeToAQOFAMTg1OiMWjYEqSLMGXUgjdu8qa+ku01nxRDyNGwKqtwcoUHMWvyLE38DWXE4E9lrq2d2IK7jZH4Vqjn2PS1r8CD6017P2sqQR5mA7IHfppS3tpvgB+9QXFNcjw+ZrNU9YjaeVizFVGWy5mF9Tc6C/JffQzF9Io+BZvAWHqSKUgK9tU0C+I26zeyMvnc/KsLYpjvJqlYieFXpg2NUeCc1amKPOrotkseFak2C5qgMTYmi2xcSFkGY2B0va9u+3GrT0YlO63nV8HRGf8AOQd9z91NVDRitsxYfDskLtJI65M5v2VO/eB2jwtu7rdobsrDEIBbU6nxP9Crtm9ErENJJntuAFh8TemOHZ4XdWoBSYdudXpgW7qKrB3VMJatIGfgrDhXvVnkfSideGmlc2xO0jrYj0tWCSd2PE+tNsWwRwt5Lc+tXjYY5E+J09BXLakhlc8LeNVnCsf9Aafv7JUcFHfVUmBTjr4VNxdEYYLmD8Kn+CgcKaZ8KvBawT4c8qIBOncKxtDrRmXDGs7YeqKsNtTER+xPKvg7W9CbUTwvTXHJ/fZu5lU/AA++hbxVUY6aDdhvpLxK+3HE/wC0vzNEY/pRP1sMP1ZPkUrnpSvCtTjA07Y6bPMCBGEvoO1e3fuGtLj7QkO929azlaiRTQ9eQneSfHWo18RXlqo1QG1GtnYjIxbU9kk232tc2oCjUTwOIAZW8jViHzZWGXFMru0dwtiX0K94BO61/Wj2054zcxgCKFOpjI3PK9szDuHZHgxpX2ZBhzZyz+AUvb7LagfrDT31HpBtnQKgyKoIRL3IJvd339rU8T7R1NzWgobfk7Vl3ZtPAaUMGHZjupjwuzc+poxhtjAcKmgmwbLJolh9hnlTlDssCtcWz7U0FXD7D7qJ4fY45CmCPCWq9ILVrSA8ezbcK1pgxyokqgVIcauhlXDirViHEVbcbvhUD4UHgSvajnNeF+6qJEV4a8z871C4NQSvXhaok18T/WlFZzieQql5SedRsa+ykVzmEXdQYVAxVfavclXQwvBVJwlE+rrzLRAiTCDiKxS4AGmJoQagcOKBUl2WayyYAjhTg8Aqt8MOXupoJUmENVHDHlTs2zxyqltl35VNBMOFNefghpyGyR41NNiA8BTQTBgDyr3+zWp2Oxj9Xf7v9Kimz5BvU28B8qugkts1+AqMeElB0Rj4C9dBiww5VpjhH9fdTQSMLs3EnchUc2IA8+NF9n9HnBDSkMeQ3epGtM6KKlQZYsPbdYVeFI41OviKosSU91XJPzH9fGsytaol6Aik45irAdPvoQDUkVr6XHqKuwVzVEtVMSGxub1ML31R6TavDrXyiomiJN/VqjXteVR5UbVMrUStRURX2SvQf6trXjk8KI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54" name="AutoShape 14" descr="data:image/jpeg;base64,/9j/4AAQSkZJRgABAQAAAQABAAD/2wCEAAkGBxQQERUUERQUFhUXGBoaGBcYGB8fGhwcIBcZGCQdJCAdHyghHCYlHBYdIjEnJSkrLi4uFx80ODUsNyg5LiwBCgoKDg0OGxAQGzckICQ3MjQsLCwsLzQsMCwvKywsLCw3NDQvLCwvLCwsLCwsLCw0LCwsLCwsLCwsLCwsLCwsLP/AABEIAEoAeAMBEQACEQEDEQH/xAAcAAACAwEBAQEAAAAAAAAAAAAFBgAEBwMBAgj/xABBEAABAgMEBAsFBgUFAAAAAAABAgMABBEFEiExBgdBURMiMkJhcXOBkbGyMzVyocEUI1JTgtEVNJPC8RYlYpLw/8QAGgEAAgMBAQAAAAAAAAAAAAAAAAMCBAUBBv/EADURAAICAQIDBAgFBAMAAAAAAAABAgMRBDESITIFM0FREyJhcYGRwfAUFVKx0SNCoeEGFkP/2gAMAwEAAhEDEQA/ANxgAkAEgAFWnpCxLjjrFaKNAdiQkk7hS+nxENhTOeyIuaQoW3p2+lDhbaabupSpIUq+tSVLSkKoKBIIVUYmsW69JBtZeRUrGC+CtqaSFcIUJUAeUG86U2VxrshjlpKtzmLJHE6HvKBMzP7yQkrcOABOagMlA98Vp9r6WtPhX3y/lDFpbJbnEaLSY5T0yv4UoT51ihP/AJNBdMPv5ocuz34s7s2HLJ9mueHwuJHkmFf9k4v/ADyS/L8f3BGXacb9lOT6e0SlwfMiO/nlMuun5B+DktphSU0hmW8FOS74/wCSVMq8eMmJLtHQz8XH3/aOOi5e0YpG3kODjhTfSaFP/ZJKR30h8eGazXJS9xB5XUsBYGOASACQASAAZb1usyTd99VPwpHKUdwG2GVVSseIkZSUVzMntrWJMvr+7o22LwCBjWoKeMdudaDCo2xq16KEVz5srytbLNjaMzKwl6beMu2KlIKRfN5KQQEUoKhCcCNgwivq9fp9PF5+/wCSddM5sYRaaGRSXRQ/muUU4ca57BuGQ2Ujyup7ZsseIckaVekjHqLUnJzcxQlRA2KX5jCvfCKqtXfzbwvNk5SqgGpXRpIH3i1L6MhiEjZjkkDPZF+vs6K65N/48l9F8hEr29lgIsWWyjktoHdXzi1DTVQ2ihbsk92WwKZQ9LBA9gA+VoCswD1iOOKe4ZwU3LIZUa3ADvTxT4iES0tTeeHD81yGKyS8QdaUo+2EiXvKoa43cOgZVruMV9TC9JeibfvwTrcH1cglZk4pxNHG1NrGYIwPSDFii2U168cMXOKT5PKLsWCAJ0mt1uRYLrmJyQmuKlbB+8NpqdsuFEZSUVkwq07Renn77lVuLNEpSMtyUiNyEI1Rwtim25M0Ow9HGrLQHZgByaUKoRzUf+3+EYHafaqrjiPwXn/ovafTcTyzwl2bd2rWfAD6CPJf1dTZ5s0/VriN9kaPNs0Uui17zkOofWNzTaCFXOXNlOy9y5LYNRfEFdM62b1HEG7irjDDr3RCFkJvEXl+w64tc2cf4zL/AJ7P9RP7w70c/J/IjxLzJ/GZf89n+on94PRz8n8g4l5lmXmEOC82pKxvSQR4iItNbncnWOASACQASACQAYfrLtkzM4pAPEZqhPXzj4in6Y2tHVwV58WVLZZkMOq2xEttrnnhlUN12AcpXWch1HfFXtHUqK4fBc2Nory8n1OzSn3Co4lRwHkBHgbbZXT4nu/vBtRioLA92HZYl26c88o/TqEej0mmVEMeL3KFtjm/YEotijjNt3m1pBpVJFd2GcQsi5RcV4nYvDyIbFjLUl1KVt3i2tKQHEm8SkimBjN7O0N1GojZYsJFi+6E4OK8RBtnRCak2+EfbARUCoUDiY9nXqa7HiLMmVbissrWFo8/OlYl0BVwAqqQKVrTPqPhErbo144mEYOWxr+glnqkJK5NXGyFqOKhShptyjJ1M1bZmHMs1rhjzCydI5Qmgmpevap/eFegs/S/kS44+ZdcnG0pvqcQEfiKgE+NaRBRbeEjuUUk6RyhNBNS9e1T+8T9BZ+l/I5xx8wmhQIqCCDtEKJHsAH5mmXitSlnNRKj1kk/WPSJYWCgzcJtj7PZjbadiG0nvoT848j2tY3XN+b+pqaWPrIEaLsX5lFebVXhGH2fDivWfDmW73iDNAj0xnkgArWl7Fz4FekxKHUjj2MO1bj/AHGX7/QY29Z3UipV1I0jWx7vV2jfqjO0Pej7ukAaleVNdTXm7FjtHaPx+hCjxKOuJwmaaSSboaqBsqVKxp3RLQL1Gzl25RsXQF2blPtDbiKm9dQQcaEjPZWkMs1cYT4GiMam1kWrOlVzLjbKMSpVEAnAE5noyx6oszkoJyYtLPIOaX6Hrs5LalOJWFkjAEUIFducIo1KtbSWME518I56mnVFh9JJIStN0VwFU403RT7QS4kxtGzNDjPHn5x0gkSxMvNEUurUB1VqPkRHoqp8UFIoyWG0bdNH7TZyVJxq2hfgAT9Y8r2lU3XOPl9DS08sSTAeiLgEyK7UkfX6RidmSSv96LeoXqD5HoygSACtaXsXPgV6TEodSOPYw/Vx7xl+/wBBjb1ndSKlXUjR9bHu9XaN+qM7Q96Pu6QBqW5U11NebsP7R2j8foQo8Qfrg/nG+yHqVDNB3b95G7qHfVp7ta/X6jFLWd8x1XSZToH7wlfj/tMauq7qRWr6kPWuf2Mv2ivTFHs/qkOv2RNTHsZjtE+mDtDqiFGzNGjOHmaa2NGyqk20K0F10DdsV3ZHujS0N6X9N/ARdD+5FnVPbwcZMq4RebxRXnIOY/SfkRENdTh8a2e52mfLB0tWSVJvhSOTW8g7Ph+nVHi9TTLS2qUdt1/BrVzVkcMd5KaS6hK0ZEeHRHoarI2QUo+JRlFxeGJ2l+nqpCY4EMBfFCrxXTOuy6d0aNGkVsOLOBE7eF4wMLFoiYkeGICb7JURWoHFOFYruHDZw+0nnMcmO6uPeMv+r0GNjWd1Iq1dSNH1se71do36oztD3o+7pAGpXlTXU15uw/tHaPx+hCjxB+uD+cb7IepUM0Hdv3kbuod9Wnu1r9fqMUtZ3zHVdJlOgfvCV+P+0xq6rupFavqQ9a5/Yy/aK9MUez+qQ6/ZE1MexmO0T6YO0OqIUbM0aM4eeLSCCCAQcCDlABlmk+hL0m6Jqzr1Em9cGKkdQ5yejzjUp1UbFwWledbi8xGXRzSdi1GuCeAS8BxmzhU/iTXyzEUNboVwtSWYsdVdzytz7abds9ZNC4wc6bOnoPyMYEY26KX6oMutxuXkzhpbou3aqEusOBLqRQHYRndUMxQ+Zj0Oi10VHMecWUbqXnnuJP8Aoa00jggPuzsDwueFa/KNL8VR1ePuEejnsOeg2g32FXDPKC3qUATyUg59ZO+Kep1fpFwx2G118PNhHWDZTs3JlphN5d9BpUDAHeSBC9LZGFmZbHbItxwgPqx0emJIzBmUBAWG7vGSa3b9eSTTlCHay6FijwvbP0I1Qcc5KmsfReanJlDku2FoDYBN9IxvE7SN8S0l9dcGpM5bCUnyGnQezXJaSbaeTdWm9UVBzUTmDSKupnGdjlHYZWmo4Zn+iWhM6xOMOOshKEKqo30GgoRkFVjQv1VUq2kxEK5JrKGrWZYT862yJZAWUrUVcZIoCmnOIipo7YVt8TG2xcksHurKwX5Jt5Mwi4VLSU8ZJqAmnNJg1lsLGuFhVFxTyOkUxpIAJAAuW9oZLTar9C06MnWzRVekZHz6YsVamdaxuvJkJVpleWNoSnFcSmda/EkhLwHSFUSvxrEpKmzb1X/g4uOPtB1o29LS7yFDhZe/UE3CClQ/G2oYg15SKjOsU/ynOZ0vhl7Nn9P2G/iccp80H3L8wlCiuqKKIWwQakpKQrHEUqThX5QvNsOVkfiv43/cliL5xZ5L2JiCH3K3FINKgipWRSpNKcJhWvJTDFJPYi1g+16P1bKeGWFFITeBOAClqwxrz9/NESOF2Xs4JU4StSuEABCjUCl7IbMFU7hABRb0doFJ4Z26UIQAFUu3RSopvz8YAPi0rBcWl7g5hSVOXaVrRNL2OChjxtlOSM4ACMnZ5bccWXFKvhIunJNL2WO290ZCAAZJ6LhlsIQ+7gtCqk40SkJCcKYUH+YALqbJKTVLzg+8KyCa1rQ3cTgMPOACuvR8lso4d2pSlN6uOCnFVzrX7zfzRnAAcgAkAEgAkAGR20OGnnQ7xwlRCQvjADcK5RrV+rWscitLnLmPmh8uhttQbSlIqMEgAbd0UL5NvmOgsDBCCZIAJABIAJABIAJABIAJA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7056" name="AutoShape 16" descr="data:image/jpeg;base64,/9j/4AAQSkZJRgABAQAAAQABAAD/2wCEAAkGBxQQERUUERQUFhUXGBoaGBcYGB8fGhwcIBcZGCQdJCAdHyghHCYlHBYdIjEnJSkrLi4uFx80ODUsNyg5LiwBCgoKDg0OGxAQGzckICQ3MjQsLCwsLzQsMCwvKywsLCw3NDQvLCwvLCwsLCwsLCw0LCwsLCwsLCwsLCwsLCwsLP/AABEIAEoAeAMBEQACEQEDEQH/xAAcAAACAwEBAQEAAAAAAAAAAAAFBgAEBwMBAgj/xABBEAABAgMEBAsFBgUFAAAAAAABAgMABBEFEiExBgdBURMiMkJhcXOBkbGyMzVyocEUI1JTgtEVNJPC8RYlYpLw/8QAGgEAAgMBAQAAAAAAAAAAAAAAAAMCBAUBBv/EADURAAICAQIDBAgFBAMAAAAAAAABAgMRBDESITIFM0FREyJhcYGRwfAUFVKx0SNCoeEGFkP/2gAMAwEAAhEDEQA/ANxgAkAEgAFWnpCxLjjrFaKNAdiQkk7hS+nxENhTOeyIuaQoW3p2+lDhbaabupSpIUq+tSVLSkKoKBIIVUYmsW69JBtZeRUrGC+CtqaSFcIUJUAeUG86U2VxrshjlpKtzmLJHE6HvKBMzP7yQkrcOABOagMlA98Vp9r6WtPhX3y/lDFpbJbnEaLSY5T0yv4UoT51ihP/AJNBdMPv5ocuz34s7s2HLJ9mueHwuJHkmFf9k4v/ADyS/L8f3BGXacb9lOT6e0SlwfMiO/nlMuun5B+DktphSU0hmW8FOS74/wCSVMq8eMmJLtHQz8XH3/aOOi5e0YpG3kODjhTfSaFP/ZJKR30h8eGazXJS9xB5XUsBYGOASACQASAAZb1usyTd99VPwpHKUdwG2GVVSseIkZSUVzMntrWJMvr+7o22LwCBjWoKeMdudaDCo2xq16KEVz5srytbLNjaMzKwl6beMu2KlIKRfN5KQQEUoKhCcCNgwivq9fp9PF5+/wCSddM5sYRaaGRSXRQ/muUU4ca57BuGQ2Ujyup7ZsseIckaVekjHqLUnJzcxQlRA2KX5jCvfCKqtXfzbwvNk5SqgGpXRpIH3i1L6MhiEjZjkkDPZF+vs6K65N/48l9F8hEr29lgIsWWyjktoHdXzi1DTVQ2ihbsk92WwKZQ9LBA9gA+VoCswD1iOOKe4ZwU3LIZUa3ADvTxT4iES0tTeeHD81yGKyS8QdaUo+2EiXvKoa43cOgZVruMV9TC9JeibfvwTrcH1cglZk4pxNHG1NrGYIwPSDFii2U168cMXOKT5PKLsWCAJ0mt1uRYLrmJyQmuKlbB+8NpqdsuFEZSUVkwq07Renn77lVuLNEpSMtyUiNyEI1Rwtim25M0Ow9HGrLQHZgByaUKoRzUf+3+EYHafaqrjiPwXn/ovafTcTyzwl2bd2rWfAD6CPJf1dTZ5s0/VriN9kaPNs0Uui17zkOofWNzTaCFXOXNlOy9y5LYNRfEFdM62b1HEG7irjDDr3RCFkJvEXl+w64tc2cf4zL/AJ7P9RP7w70c/J/IjxLzJ/GZf89n+on94PRz8n8g4l5lmXmEOC82pKxvSQR4iItNbncnWOASACQASACQAYfrLtkzM4pAPEZqhPXzj4in6Y2tHVwV58WVLZZkMOq2xEttrnnhlUN12AcpXWch1HfFXtHUqK4fBc2Nory8n1OzSn3Co4lRwHkBHgbbZXT4nu/vBtRioLA92HZYl26c88o/TqEej0mmVEMeL3KFtjm/YEotijjNt3m1pBpVJFd2GcQsi5RcV4nYvDyIbFjLUl1KVt3i2tKQHEm8SkimBjN7O0N1GojZYsJFi+6E4OK8RBtnRCak2+EfbARUCoUDiY9nXqa7HiLMmVbissrWFo8/OlYl0BVwAqqQKVrTPqPhErbo144mEYOWxr+glnqkJK5NXGyFqOKhShptyjJ1M1bZmHMs1rhjzCydI5Qmgmpevap/eFegs/S/kS44+ZdcnG0pvqcQEfiKgE+NaRBRbeEjuUUk6RyhNBNS9e1T+8T9BZ+l/I5xx8wmhQIqCCDtEKJHsAH5mmXitSlnNRKj1kk/WPSJYWCgzcJtj7PZjbadiG0nvoT848j2tY3XN+b+pqaWPrIEaLsX5lFebVXhGH2fDivWfDmW73iDNAj0xnkgArWl7Fz4FekxKHUjj2MO1bj/AHGX7/QY29Z3UipV1I0jWx7vV2jfqjO0Pej7ukAaleVNdTXm7FjtHaPx+hCjxKOuJwmaaSSboaqBsqVKxp3RLQL1Gzl25RsXQF2blPtDbiKm9dQQcaEjPZWkMs1cYT4GiMam1kWrOlVzLjbKMSpVEAnAE5noyx6oszkoJyYtLPIOaX6Hrs5LalOJWFkjAEUIFducIo1KtbSWME518I56mnVFh9JJIStN0VwFU403RT7QS4kxtGzNDjPHn5x0gkSxMvNEUurUB1VqPkRHoqp8UFIoyWG0bdNH7TZyVJxq2hfgAT9Y8r2lU3XOPl9DS08sSTAeiLgEyK7UkfX6RidmSSv96LeoXqD5HoygSACtaXsXPgV6TEodSOPYw/Vx7xl+/wBBjb1ndSKlXUjR9bHu9XaN+qM7Q96Pu6QBqW5U11NebsP7R2j8foQo8Qfrg/nG+yHqVDNB3b95G7qHfVp7ta/X6jFLWd8x1XSZToH7wlfj/tMauq7qRWr6kPWuf2Mv2ivTFHs/qkOv2RNTHsZjtE+mDtDqiFGzNGjOHmaa2NGyqk20K0F10DdsV3ZHujS0N6X9N/ARdD+5FnVPbwcZMq4RebxRXnIOY/SfkRENdTh8a2e52mfLB0tWSVJvhSOTW8g7Ph+nVHi9TTLS2qUdt1/BrVzVkcMd5KaS6hK0ZEeHRHoarI2QUo+JRlFxeGJ2l+nqpCY4EMBfFCrxXTOuy6d0aNGkVsOLOBE7eF4wMLFoiYkeGICb7JURWoHFOFYruHDZw+0nnMcmO6uPeMv+r0GNjWd1Iq1dSNH1se71do36oztD3o+7pAGpXlTXU15uw/tHaPx+hCjxB+uD+cb7IepUM0Hdv3kbuod9Wnu1r9fqMUtZ3zHVdJlOgfvCV+P+0xq6rupFavqQ9a5/Yy/aK9MUez+qQ6/ZE1MexmO0T6YO0OqIUbM0aM4eeLSCCCAQcCDlABlmk+hL0m6Jqzr1Em9cGKkdQ5yejzjUp1UbFwWledbi8xGXRzSdi1GuCeAS8BxmzhU/iTXyzEUNboVwtSWYsdVdzytz7abds9ZNC4wc6bOnoPyMYEY26KX6oMutxuXkzhpbou3aqEusOBLqRQHYRndUMxQ+Zj0Oi10VHMecWUbqXnnuJP8Aoa00jggPuzsDwueFa/KNL8VR1ePuEejnsOeg2g32FXDPKC3qUATyUg59ZO+Kep1fpFwx2G118PNhHWDZTs3JlphN5d9BpUDAHeSBC9LZGFmZbHbItxwgPqx0emJIzBmUBAWG7vGSa3b9eSTTlCHay6FijwvbP0I1Qcc5KmsfReanJlDku2FoDYBN9IxvE7SN8S0l9dcGpM5bCUnyGnQezXJaSbaeTdWm9UVBzUTmDSKupnGdjlHYZWmo4Zn+iWhM6xOMOOshKEKqo30GgoRkFVjQv1VUq2kxEK5JrKGrWZYT862yJZAWUrUVcZIoCmnOIipo7YVt8TG2xcksHurKwX5Jt5Mwi4VLSU8ZJqAmnNJg1lsLGuFhVFxTyOkUxpIAJAAuW9oZLTar9C06MnWzRVekZHz6YsVamdaxuvJkJVpleWNoSnFcSmda/EkhLwHSFUSvxrEpKmzb1X/g4uOPtB1o29LS7yFDhZe/UE3CClQ/G2oYg15SKjOsU/ynOZ0vhl7Nn9P2G/iccp80H3L8wlCiuqKKIWwQakpKQrHEUqThX5QvNsOVkfiv43/cliL5xZ5L2JiCH3K3FINKgipWRSpNKcJhWvJTDFJPYi1g+16P1bKeGWFFITeBOAClqwxrz9/NESOF2Xs4JU4StSuEABCjUCl7IbMFU7hABRb0doFJ4Z26UIQAFUu3RSopvz8YAPi0rBcWl7g5hSVOXaVrRNL2OChjxtlOSM4ACMnZ5bccWXFKvhIunJNL2WO290ZCAAZJ6LhlsIQ+7gtCqk40SkJCcKYUH+YALqbJKTVLzg+8KyCa1rQ3cTgMPOACuvR8lso4d2pSlN6uOCnFVzrX7zfzRnAAcgAkAEgAkAGR20OGnnQ7xwlRCQvjADcK5RrV+rWscitLnLmPmh8uhttQbSlIqMEgAbd0UL5NvmOgsDBCCZIAJABIAJABIAJABIAJA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15"/>
          <p:cNvGrpSpPr/>
          <p:nvPr/>
        </p:nvGrpSpPr>
        <p:grpSpPr>
          <a:xfrm>
            <a:off x="5410200" y="609600"/>
            <a:ext cx="3276600" cy="2743200"/>
            <a:chOff x="5029200" y="990600"/>
            <a:chExt cx="3276600" cy="2743200"/>
          </a:xfrm>
        </p:grpSpPr>
        <p:pic>
          <p:nvPicPr>
            <p:cNvPr id="87042" name="Picture 2" descr="https://encrypted-tbn1.gstatic.com/images?q=tbn:ANd9GcQCGZ7QI05vDcGzjsReieDYrlUgjvOsoAKpeLM3HMA3woSawhsgd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486400" y="1524000"/>
              <a:ext cx="2543175" cy="1800225"/>
            </a:xfrm>
            <a:prstGeom prst="rect">
              <a:avLst/>
            </a:prstGeom>
            <a:noFill/>
          </p:spPr>
        </p:pic>
        <p:sp>
          <p:nvSpPr>
            <p:cNvPr id="12" name="Oval 11"/>
            <p:cNvSpPr/>
            <p:nvPr/>
          </p:nvSpPr>
          <p:spPr>
            <a:xfrm>
              <a:off x="5029200" y="990600"/>
              <a:ext cx="3276600" cy="2743200"/>
            </a:xfrm>
            <a:prstGeom prst="ellipse">
              <a:avLst/>
            </a:prstGeom>
            <a:no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13"/>
          <p:cNvGrpSpPr/>
          <p:nvPr/>
        </p:nvGrpSpPr>
        <p:grpSpPr>
          <a:xfrm>
            <a:off x="838200" y="3733800"/>
            <a:ext cx="2714321" cy="2438400"/>
            <a:chOff x="2514600" y="2286000"/>
            <a:chExt cx="2714321" cy="2438400"/>
          </a:xfrm>
        </p:grpSpPr>
        <p:pic>
          <p:nvPicPr>
            <p:cNvPr id="11" name="Picture 10" descr="logo_final"/>
            <p:cNvPicPr/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514600" y="2514600"/>
              <a:ext cx="2714321" cy="1712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 12"/>
            <p:cNvSpPr/>
            <p:nvPr/>
          </p:nvSpPr>
          <p:spPr>
            <a:xfrm>
              <a:off x="2514600" y="2286000"/>
              <a:ext cx="2438400" cy="2438400"/>
            </a:xfrm>
            <a:prstGeom prst="ellipse">
              <a:avLst/>
            </a:prstGeom>
            <a:noFill/>
            <a:ln w="571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Left-Up Arrow 14"/>
          <p:cNvSpPr/>
          <p:nvPr/>
        </p:nvSpPr>
        <p:spPr>
          <a:xfrm>
            <a:off x="3505200" y="3505200"/>
            <a:ext cx="3581400" cy="2362200"/>
          </a:xfrm>
          <a:prstGeom prst="leftUpArrow">
            <a:avLst/>
          </a:prstGeom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1600200" y="2743200"/>
            <a:ext cx="3810000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effectLst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/>
          <a:p>
            <a:r>
              <a:rPr lang="en-US" sz="2400" dirty="0" smtClean="0">
                <a:latin typeface="Castellar" pitchFamily="18" charset="0"/>
              </a:rPr>
              <a:t>Net-Working </a:t>
            </a:r>
            <a:r>
              <a:rPr lang="en-US" sz="2400" dirty="0" err="1" smtClean="0">
                <a:latin typeface="Castellar" pitchFamily="18" charset="0"/>
              </a:rPr>
              <a:t>dan</a:t>
            </a:r>
            <a:r>
              <a:rPr lang="en-US" sz="2400" dirty="0" smtClean="0">
                <a:latin typeface="Castellar" pitchFamily="18" charset="0"/>
              </a:rPr>
              <a:t> </a:t>
            </a:r>
            <a:r>
              <a:rPr lang="en-US" sz="2400" dirty="0" err="1" smtClean="0">
                <a:latin typeface="Castellar" pitchFamily="18" charset="0"/>
              </a:rPr>
              <a:t>jaringan</a:t>
            </a:r>
            <a:r>
              <a:rPr lang="en-US" sz="2400" dirty="0" smtClean="0">
                <a:latin typeface="Castellar" pitchFamily="18" charset="0"/>
              </a:rPr>
              <a:t> </a:t>
            </a:r>
            <a:r>
              <a:rPr lang="en-US" sz="2400" dirty="0" err="1" smtClean="0">
                <a:latin typeface="Castellar" pitchFamily="18" charset="0"/>
              </a:rPr>
              <a:t>industri</a:t>
            </a:r>
            <a:endParaRPr lang="en-US" sz="2400" dirty="0">
              <a:latin typeface="Castellar" pitchFamily="18" charset="0"/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2667000" y="5562600"/>
            <a:ext cx="6210300" cy="99695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75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Tx/>
              <a:buNone/>
              <a:tabLst/>
              <a:defRPr/>
            </a:pPr>
            <a:endParaRPr kumimoji="0" lang="en-US" sz="49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75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Tx/>
              <a:buNone/>
              <a:tabLst/>
              <a:defRPr/>
            </a:pPr>
            <a:r>
              <a:rPr kumimoji="0" lang="en-US" sz="3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omic Sans MS" pitchFamily="66" charset="0"/>
                <a:ea typeface="+mn-ea"/>
                <a:cs typeface="+mn-cs"/>
              </a:rPr>
              <a:t>WIN-WIN SITUATION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omic Sans MS" pitchFamily="66" charset="0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19"/>
          <p:cNvSpPr>
            <a:spLocks noChangeArrowheads="1"/>
          </p:cNvSpPr>
          <p:nvPr/>
        </p:nvSpPr>
        <p:spPr bwMode="auto">
          <a:xfrm>
            <a:off x="457200" y="2895600"/>
            <a:ext cx="3657600" cy="533400"/>
          </a:xfrm>
          <a:prstGeom prst="rect">
            <a:avLst/>
          </a:prstGeom>
          <a:noFill/>
          <a:ln w="57150" algn="ctr">
            <a:solidFill>
              <a:srgbClr val="808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 anchor="ctr"/>
          <a:lstStyle/>
          <a:p>
            <a:pPr algn="ctr" defTabSz="933450"/>
            <a:r>
              <a:rPr lang="en-US" sz="1600" b="1">
                <a:solidFill>
                  <a:srgbClr val="4D4D4D"/>
                </a:solidFill>
              </a:rPr>
              <a:t>Government Transformation Plan (GTP)</a:t>
            </a:r>
            <a:endParaRPr lang="en-GB" sz="1300" b="1">
              <a:solidFill>
                <a:srgbClr val="4D4D4D"/>
              </a:solidFill>
            </a:endParaRPr>
          </a:p>
        </p:txBody>
      </p:sp>
      <p:sp>
        <p:nvSpPr>
          <p:cNvPr id="8195" name="Rectangle 42"/>
          <p:cNvSpPr>
            <a:spLocks noChangeArrowheads="1"/>
          </p:cNvSpPr>
          <p:nvPr/>
        </p:nvSpPr>
        <p:spPr bwMode="auto">
          <a:xfrm>
            <a:off x="1600200" y="1447800"/>
            <a:ext cx="2514600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>
            <a:spAutoFit/>
          </a:bodyPr>
          <a:lstStyle/>
          <a:p>
            <a:pPr defTabSz="933450"/>
            <a:r>
              <a:rPr lang="en-US" sz="2000" b="1">
                <a:solidFill>
                  <a:srgbClr val="4D4D4D"/>
                </a:solidFill>
              </a:rPr>
              <a:t>1Malaysia </a:t>
            </a:r>
          </a:p>
          <a:p>
            <a:pPr defTabSz="933450"/>
            <a:r>
              <a:rPr lang="en-US">
                <a:solidFill>
                  <a:srgbClr val="000000"/>
                </a:solidFill>
              </a:rPr>
              <a:t>People First</a:t>
            </a:r>
          </a:p>
          <a:p>
            <a:pPr defTabSz="933450"/>
            <a:r>
              <a:rPr lang="en-US">
                <a:solidFill>
                  <a:srgbClr val="000000"/>
                </a:solidFill>
              </a:rPr>
              <a:t>Performance Now</a:t>
            </a:r>
          </a:p>
        </p:txBody>
      </p:sp>
      <p:pic>
        <p:nvPicPr>
          <p:cNvPr id="8196" name="Picture 21" descr="http://t1.gstatic.com/images?q=tbn:dKj10qp6toKcgM:http://bigdogdotcom.files.wordpress.com/2009/08/1_malaysia.jpg"/>
          <p:cNvPicPr>
            <a:picLocks noChangeAspect="1" noChangeArrowheads="1"/>
          </p:cNvPicPr>
          <p:nvPr/>
        </p:nvPicPr>
        <p:blipFill>
          <a:blip r:embed="rId26">
            <a:lum bright="1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4800" y="1085850"/>
            <a:ext cx="1350963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7" name="Title 6"/>
          <p:cNvSpPr txBox="1">
            <a:spLocks/>
          </p:cNvSpPr>
          <p:nvPr/>
        </p:nvSpPr>
        <p:spPr bwMode="auto">
          <a:xfrm>
            <a:off x="0" y="119062"/>
            <a:ext cx="9144000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96" tIns="46648" rIns="93296" bIns="46648" anchor="b">
            <a:spAutoFit/>
          </a:bodyPr>
          <a:lstStyle>
            <a:lvl1pPr marL="230188" defTabSz="9128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lnSpc>
                <a:spcPct val="75000"/>
              </a:lnSpc>
            </a:pPr>
            <a:r>
              <a:rPr lang="en-US" sz="3200" b="1" dirty="0"/>
              <a:t>Transforming Malaysia</a:t>
            </a:r>
            <a:endParaRPr lang="en-US" sz="2800" dirty="0"/>
          </a:p>
        </p:txBody>
      </p:sp>
      <p:sp>
        <p:nvSpPr>
          <p:cNvPr id="8198" name="Rectangle 19"/>
          <p:cNvSpPr>
            <a:spLocks noChangeArrowheads="1"/>
          </p:cNvSpPr>
          <p:nvPr/>
        </p:nvSpPr>
        <p:spPr bwMode="auto">
          <a:xfrm>
            <a:off x="4724400" y="2895600"/>
            <a:ext cx="4038600" cy="533400"/>
          </a:xfrm>
          <a:prstGeom prst="rect">
            <a:avLst/>
          </a:prstGeom>
          <a:noFill/>
          <a:ln w="57150" algn="ctr">
            <a:solidFill>
              <a:srgbClr val="00336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 anchor="ctr"/>
          <a:lstStyle/>
          <a:p>
            <a:pPr algn="ctr" defTabSz="933450"/>
            <a:r>
              <a:rPr lang="en-US" sz="1600" b="1">
                <a:solidFill>
                  <a:srgbClr val="4D4D4D"/>
                </a:solidFill>
              </a:rPr>
              <a:t>Economic Transformation Programme (ETP)</a:t>
            </a:r>
            <a:endParaRPr lang="en-GB" sz="1300">
              <a:solidFill>
                <a:srgbClr val="4D4D4D"/>
              </a:solidFill>
            </a:endParaRPr>
          </a:p>
        </p:txBody>
      </p:sp>
      <p:sp>
        <p:nvSpPr>
          <p:cNvPr id="8199" name="Rectangle 5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57200" y="3535363"/>
            <a:ext cx="36576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461" tIns="73461" rIns="73461" bIns="73461" anchor="ctr"/>
          <a:lstStyle/>
          <a:p>
            <a:pPr algn="ctr" defTabSz="911225">
              <a:buClr>
                <a:schemeClr val="tx2"/>
              </a:buClr>
            </a:pPr>
            <a:r>
              <a:rPr lang="en-US" altLang="zh-CN" sz="1600" b="1"/>
              <a:t>National Key Result Areas </a:t>
            </a:r>
            <a:r>
              <a:rPr lang="en-GB" altLang="zh-CN" sz="1600" b="1"/>
              <a:t>(NKRAs)</a:t>
            </a:r>
            <a:endParaRPr lang="en-US" altLang="zh-CN" sz="1600" b="1"/>
          </a:p>
        </p:txBody>
      </p:sp>
      <p:sp>
        <p:nvSpPr>
          <p:cNvPr id="8200" name="Rectangle 6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85800" y="3922713"/>
            <a:ext cx="2514600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Crime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GB" sz="1300"/>
              <a:t>Education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GB" sz="1300"/>
              <a:t>Corruption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GB" sz="1300"/>
              <a:t>Low Income Households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GB" sz="1300"/>
              <a:t>Urban Public Transport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GB" sz="1300"/>
              <a:t>Rural Basic Infrastructure</a:t>
            </a:r>
            <a:endParaRPr lang="en-US" sz="1300"/>
          </a:p>
        </p:txBody>
      </p:sp>
      <p:sp>
        <p:nvSpPr>
          <p:cNvPr id="8201" name="Oval 5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46100" y="3916363"/>
            <a:ext cx="215900" cy="233362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1</a:t>
            </a:r>
          </a:p>
        </p:txBody>
      </p:sp>
      <p:sp>
        <p:nvSpPr>
          <p:cNvPr id="8202" name="Oval 6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6100" y="4175125"/>
            <a:ext cx="215900" cy="233363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2</a:t>
            </a:r>
          </a:p>
        </p:txBody>
      </p:sp>
      <p:sp>
        <p:nvSpPr>
          <p:cNvPr id="8203" name="Oval 6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6100" y="4433888"/>
            <a:ext cx="215900" cy="233362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3</a:t>
            </a:r>
          </a:p>
        </p:txBody>
      </p:sp>
      <p:sp>
        <p:nvSpPr>
          <p:cNvPr id="8204" name="Oval 6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46100" y="4694238"/>
            <a:ext cx="215900" cy="233362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4</a:t>
            </a:r>
          </a:p>
        </p:txBody>
      </p:sp>
      <p:sp>
        <p:nvSpPr>
          <p:cNvPr id="8205" name="Oval 6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46100" y="4953000"/>
            <a:ext cx="215900" cy="233363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5</a:t>
            </a:r>
          </a:p>
        </p:txBody>
      </p:sp>
      <p:sp>
        <p:nvSpPr>
          <p:cNvPr id="8206" name="Oval 6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46100" y="5213350"/>
            <a:ext cx="215900" cy="233363"/>
          </a:xfrm>
          <a:prstGeom prst="ellipse">
            <a:avLst/>
          </a:prstGeom>
          <a:solidFill>
            <a:srgbClr val="7A82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N6</a:t>
            </a:r>
          </a:p>
        </p:txBody>
      </p:sp>
      <p:sp>
        <p:nvSpPr>
          <p:cNvPr id="8207" name="Rectangle 6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53000" y="4006850"/>
            <a:ext cx="2057400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Agriculture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Palm oil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Oil &amp; gas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Electrical &amp; electronics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ICT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Greater KL</a:t>
            </a:r>
          </a:p>
        </p:txBody>
      </p:sp>
      <p:sp>
        <p:nvSpPr>
          <p:cNvPr id="8208" name="Rectangle 5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724400" y="3505200"/>
            <a:ext cx="40386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461" tIns="73461" rIns="73461" bIns="73461" anchor="ctr"/>
          <a:lstStyle/>
          <a:p>
            <a:pPr algn="ctr" defTabSz="911225">
              <a:buClr>
                <a:schemeClr val="tx2"/>
              </a:buClr>
            </a:pPr>
            <a:r>
              <a:rPr lang="en-US" altLang="zh-CN" sz="1600" b="1"/>
              <a:t>National Key Economic Areas </a:t>
            </a:r>
            <a:r>
              <a:rPr lang="en-GB" altLang="zh-CN" sz="1600" b="1"/>
              <a:t>(NKEAs)</a:t>
            </a:r>
            <a:endParaRPr lang="en-US" altLang="zh-CN" sz="1600" b="1"/>
          </a:p>
        </p:txBody>
      </p:sp>
      <p:sp>
        <p:nvSpPr>
          <p:cNvPr id="8209" name="Rectangle 60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7086600" y="4068763"/>
            <a:ext cx="2057400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Health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Education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Business services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Tourism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Wholesale &amp; retail trade</a:t>
            </a:r>
          </a:p>
          <a:p>
            <a:pPr marL="195263" lvl="1" indent="-193675" defTabSz="911225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300"/>
              <a:t>Financial services</a:t>
            </a:r>
          </a:p>
        </p:txBody>
      </p:sp>
      <p:sp>
        <p:nvSpPr>
          <p:cNvPr id="8210" name="Rectangle 19"/>
          <p:cNvSpPr>
            <a:spLocks noChangeArrowheads="1"/>
          </p:cNvSpPr>
          <p:nvPr/>
        </p:nvSpPr>
        <p:spPr bwMode="auto">
          <a:xfrm>
            <a:off x="6629400" y="1249363"/>
            <a:ext cx="2057400" cy="1417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31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 anchor="ctr"/>
          <a:lstStyle/>
          <a:p>
            <a:pPr defTabSz="933450"/>
            <a:r>
              <a:rPr lang="en-US" sz="2000" b="1">
                <a:solidFill>
                  <a:srgbClr val="4D4D4D"/>
                </a:solidFill>
              </a:rPr>
              <a:t>New Economic Model</a:t>
            </a:r>
          </a:p>
          <a:p>
            <a:pPr defTabSz="933450"/>
            <a:r>
              <a:rPr lang="en-US" sz="1600"/>
              <a:t>High income</a:t>
            </a:r>
          </a:p>
          <a:p>
            <a:pPr defTabSz="933450"/>
            <a:r>
              <a:rPr lang="en-US" sz="1600"/>
              <a:t>Inclusiveness</a:t>
            </a:r>
          </a:p>
          <a:p>
            <a:pPr defTabSz="933450"/>
            <a:r>
              <a:rPr lang="en-US" sz="1600"/>
              <a:t>Sustainability</a:t>
            </a:r>
          </a:p>
        </p:txBody>
      </p:sp>
      <p:sp>
        <p:nvSpPr>
          <p:cNvPr id="8211" name="Text Box 19"/>
          <p:cNvSpPr txBox="1">
            <a:spLocks noChangeArrowheads="1"/>
          </p:cNvSpPr>
          <p:nvPr/>
        </p:nvSpPr>
        <p:spPr bwMode="auto">
          <a:xfrm>
            <a:off x="5334000" y="1676400"/>
            <a:ext cx="1219200" cy="579438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3200" b="1">
                <a:solidFill>
                  <a:schemeClr val="bg1"/>
                </a:solidFill>
              </a:rPr>
              <a:t>NEM</a:t>
            </a:r>
          </a:p>
        </p:txBody>
      </p:sp>
      <p:sp>
        <p:nvSpPr>
          <p:cNvPr id="8212" name="Oval 5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889500" y="4006850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1</a:t>
            </a:r>
          </a:p>
        </p:txBody>
      </p:sp>
      <p:sp>
        <p:nvSpPr>
          <p:cNvPr id="8213" name="Oval 6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889500" y="4265613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2</a:t>
            </a:r>
          </a:p>
        </p:txBody>
      </p:sp>
      <p:sp>
        <p:nvSpPr>
          <p:cNvPr id="8214" name="Oval 6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889500" y="4524375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3</a:t>
            </a:r>
          </a:p>
        </p:txBody>
      </p:sp>
      <p:sp>
        <p:nvSpPr>
          <p:cNvPr id="8215" name="Oval 6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889500" y="4784725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4</a:t>
            </a:r>
          </a:p>
        </p:txBody>
      </p:sp>
      <p:sp>
        <p:nvSpPr>
          <p:cNvPr id="8216" name="Oval 6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889500" y="5043488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5</a:t>
            </a:r>
          </a:p>
        </p:txBody>
      </p:sp>
      <p:sp>
        <p:nvSpPr>
          <p:cNvPr id="8217" name="Oval 6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889500" y="5303838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6</a:t>
            </a:r>
          </a:p>
        </p:txBody>
      </p:sp>
      <p:sp>
        <p:nvSpPr>
          <p:cNvPr id="8218" name="Oval 54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946900" y="4006850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7</a:t>
            </a:r>
          </a:p>
        </p:txBody>
      </p:sp>
      <p:sp>
        <p:nvSpPr>
          <p:cNvPr id="8219" name="Oval 61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6946900" y="4265613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8</a:t>
            </a:r>
          </a:p>
        </p:txBody>
      </p:sp>
      <p:sp>
        <p:nvSpPr>
          <p:cNvPr id="8220" name="Oval 62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946900" y="4524375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 9</a:t>
            </a:r>
          </a:p>
        </p:txBody>
      </p:sp>
      <p:sp>
        <p:nvSpPr>
          <p:cNvPr id="8221" name="Oval 6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6946900" y="4784725"/>
            <a:ext cx="215900" cy="233363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8222" name="Oval 64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946900" y="5043488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8223" name="Oval 65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946900" y="5303838"/>
            <a:ext cx="215900" cy="233362"/>
          </a:xfrm>
          <a:prstGeom prst="ellipse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46641" rIns="0" bIns="46641" anchor="ctr"/>
          <a:lstStyle/>
          <a:p>
            <a:pPr defTabSz="933450"/>
            <a:r>
              <a:rPr lang="en-US" sz="1100" b="1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8224" name="Text Box 32"/>
          <p:cNvSpPr txBox="1">
            <a:spLocks noChangeArrowheads="1"/>
          </p:cNvSpPr>
          <p:nvPr/>
        </p:nvSpPr>
        <p:spPr bwMode="auto">
          <a:xfrm>
            <a:off x="4876800" y="5668963"/>
            <a:ext cx="3810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200" b="1"/>
              <a:t>Entry Point Projects </a:t>
            </a:r>
            <a:r>
              <a:rPr lang="en-US" sz="1200"/>
              <a:t>– Private sector initiatives</a:t>
            </a:r>
          </a:p>
        </p:txBody>
      </p:sp>
      <p:sp>
        <p:nvSpPr>
          <p:cNvPr id="8225" name="Text Box 33"/>
          <p:cNvSpPr txBox="1">
            <a:spLocks noChangeArrowheads="1"/>
          </p:cNvSpPr>
          <p:nvPr/>
        </p:nvSpPr>
        <p:spPr bwMode="auto">
          <a:xfrm>
            <a:off x="3184525" y="3989388"/>
            <a:ext cx="184150" cy="427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en-US" sz="2200"/>
          </a:p>
        </p:txBody>
      </p:sp>
      <p:sp>
        <p:nvSpPr>
          <p:cNvPr id="8226" name="Rectangle 19"/>
          <p:cNvSpPr>
            <a:spLocks noChangeArrowheads="1"/>
          </p:cNvSpPr>
          <p:nvPr/>
        </p:nvSpPr>
        <p:spPr bwMode="auto">
          <a:xfrm>
            <a:off x="4800600" y="6172200"/>
            <a:ext cx="4038600" cy="533400"/>
          </a:xfrm>
          <a:prstGeom prst="rect">
            <a:avLst/>
          </a:prstGeom>
          <a:noFill/>
          <a:ln w="57150" algn="ctr">
            <a:solidFill>
              <a:srgbClr val="96969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91420" tIns="45711" rIns="91420" bIns="45711" anchor="ctr"/>
          <a:lstStyle/>
          <a:p>
            <a:pPr algn="ctr" defTabSz="933450"/>
            <a:r>
              <a:rPr lang="en-US" sz="1600" b="1">
                <a:solidFill>
                  <a:srgbClr val="4D4D4D"/>
                </a:solidFill>
              </a:rPr>
              <a:t>Rural Transformation Programme (RTP)</a:t>
            </a:r>
            <a:endParaRPr lang="en-GB" sz="130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5583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gallery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X1qBSyWUu3yE.XindT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X1qBSyWUu3yE.XindTc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nk3u87RkWzipMCWiNZ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ZPU.P8OUuxVkKie2Xb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t9Mq0YB0GN3K4IpBsh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r7Yz619Uaxhyf1QQL4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XL3QOkskS6n.lY5_wIr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I0FQ5nk22teb9o50i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4RcigKiE.Jj.nlRR41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ZPU.P8OUuxVkKie2Xbu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t9Mq0YB0GN3K4IpBsh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nk3u87RkWzipMCWiNZ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r7Yz619Uaxhyf1QQL4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XL3QOkskS6n.lY5_wI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I0FQ5nk22teb9o50i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4RcigKiE.Jj.nlRR41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ZPU.P8OUuxVkKie2Xb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1t9Mq0YB0GN3K4IpBsh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r7Yz619Uaxhyf1QQL4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XL3QOkskS6n.lY5_wI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I0FQ5nk22teb9o50i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4RcigKiE.Jj.nlRR41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nk3u87RkWzipMCWiNZm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etro">
    <a:dk1>
      <a:sysClr val="windowText" lastClr="000000"/>
    </a:dk1>
    <a:lt1>
      <a:sysClr val="window" lastClr="FFFFFF"/>
    </a:lt1>
    <a:dk2>
      <a:srgbClr val="4E5B6F"/>
    </a:dk2>
    <a:lt2>
      <a:srgbClr val="D6ECFF"/>
    </a:lt2>
    <a:accent1>
      <a:srgbClr val="7FD13B"/>
    </a:accent1>
    <a:accent2>
      <a:srgbClr val="EA157A"/>
    </a:accent2>
    <a:accent3>
      <a:srgbClr val="FEB80A"/>
    </a:accent3>
    <a:accent4>
      <a:srgbClr val="00ADDC"/>
    </a:accent4>
    <a:accent5>
      <a:srgbClr val="738AC8"/>
    </a:accent5>
    <a:accent6>
      <a:srgbClr val="1AB39F"/>
    </a:accent6>
    <a:hlink>
      <a:srgbClr val="EB8803"/>
    </a:hlink>
    <a:folHlink>
      <a:srgbClr val="5F7791"/>
    </a:folHlink>
  </a:clrScheme>
  <a:fontScheme name="Flow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Flow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112</TotalTime>
  <Words>492</Words>
  <Application>Microsoft Office PowerPoint</Application>
  <PresentationFormat>On-screen Show (4:3)</PresentationFormat>
  <Paragraphs>139</Paragraphs>
  <Slides>1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Flow</vt:lpstr>
      <vt:lpstr>Slide 1</vt:lpstr>
      <vt:lpstr>KANDUNGAN</vt:lpstr>
      <vt:lpstr>Slide 3</vt:lpstr>
      <vt:lpstr>Persaingan Pasaran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er</dc:creator>
  <cp:lastModifiedBy>User</cp:lastModifiedBy>
  <cp:revision>14</cp:revision>
  <dcterms:created xsi:type="dcterms:W3CDTF">2014-12-11T09:12:14Z</dcterms:created>
  <dcterms:modified xsi:type="dcterms:W3CDTF">2014-12-15T00:55:20Z</dcterms:modified>
</cp:coreProperties>
</file>